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5.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6.xml" ContentType="application/vnd.openxmlformats-officedocument.theme+xml"/>
  <Override PartName="/ppt/slideLayouts/slideLayout216.xml" ContentType="application/vnd.openxmlformats-officedocument.presentationml.slideLayout+xml"/>
  <Override PartName="/ppt/theme/theme7.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8.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9.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10.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805_C8941348.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877" r:id="rId4"/>
    <p:sldMasterId id="2147484229" r:id="rId5"/>
    <p:sldMasterId id="2147484949" r:id="rId6"/>
    <p:sldMasterId id="2147483890" r:id="rId7"/>
    <p:sldMasterId id="2147484508" r:id="rId8"/>
    <p:sldMasterId id="2147484307" r:id="rId9"/>
    <p:sldMasterId id="2147483660" r:id="rId10"/>
    <p:sldMasterId id="2147485404" r:id="rId11"/>
    <p:sldMasterId id="2147485518" r:id="rId12"/>
    <p:sldMasterId id="2147485557" r:id="rId13"/>
    <p:sldMasterId id="2147485595" r:id="rId14"/>
    <p:sldMasterId id="2147485634" r:id="rId15"/>
  </p:sldMasterIdLst>
  <p:notesMasterIdLst>
    <p:notesMasterId r:id="rId37"/>
  </p:notesMasterIdLst>
  <p:handoutMasterIdLst>
    <p:handoutMasterId r:id="rId38"/>
  </p:handoutMasterIdLst>
  <p:sldIdLst>
    <p:sldId id="1997" r:id="rId16"/>
    <p:sldId id="2147470090" r:id="rId17"/>
    <p:sldId id="2054" r:id="rId18"/>
    <p:sldId id="2147470088" r:id="rId19"/>
    <p:sldId id="2147470121" r:id="rId20"/>
    <p:sldId id="2147470113" r:id="rId21"/>
    <p:sldId id="2134805442" r:id="rId22"/>
    <p:sldId id="2053" r:id="rId23"/>
    <p:sldId id="2147470112" r:id="rId24"/>
    <p:sldId id="2147470086" r:id="rId25"/>
    <p:sldId id="2147470122" r:id="rId26"/>
    <p:sldId id="2059" r:id="rId27"/>
    <p:sldId id="2147470114" r:id="rId28"/>
    <p:sldId id="2057" r:id="rId29"/>
    <p:sldId id="2147470116" r:id="rId30"/>
    <p:sldId id="2147470117" r:id="rId31"/>
    <p:sldId id="2147470118" r:id="rId32"/>
    <p:sldId id="2147470115" r:id="rId33"/>
    <p:sldId id="2147470123" r:id="rId34"/>
    <p:sldId id="9652" r:id="rId35"/>
    <p:sldId id="2055" r:id="rId36"/>
  </p:sldIdLst>
  <p:sldSz cx="12192000" cy="6858000"/>
  <p:notesSz cx="7023100" cy="120523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Black" id="{CC80F8C8-EE4D-4D76-85E3-9D04C9AF18F9}">
          <p14:sldIdLst>
            <p14:sldId id="1997"/>
            <p14:sldId id="2147470090"/>
            <p14:sldId id="2054"/>
            <p14:sldId id="2147470088"/>
            <p14:sldId id="2147470121"/>
            <p14:sldId id="2147470113"/>
            <p14:sldId id="2134805442"/>
            <p14:sldId id="2053"/>
            <p14:sldId id="2147470112"/>
            <p14:sldId id="2147470086"/>
            <p14:sldId id="2147470122"/>
            <p14:sldId id="2059"/>
            <p14:sldId id="2147470114"/>
            <p14:sldId id="2057"/>
            <p14:sldId id="2147470116"/>
            <p14:sldId id="2147470117"/>
            <p14:sldId id="2147470118"/>
            <p14:sldId id="2147470115"/>
            <p14:sldId id="2147470123"/>
            <p14:sldId id="9652"/>
            <p14:sldId id="205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796"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19FD86-559F-B6E6-C2A3-CEE52834C9D0}" name="Jenny Lay-Flurrie (CELA)" initials="J(" userId="S::jennylf@microsoft.com::ce80fa8a-6939-44ff-841f-f3b6c6d2bf00" providerId="AD"/>
  <p188:author id="{BFA28FD2-EC3B-5A71-FC60-D163FF5D9E68}" name="Hector Minto (CELA)" initials="H(" userId="S::heminto@microsoft.com::f57881a2-6b88-416b-a27c-44c11f8b831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A1A"/>
    <a:srgbClr val="2F528F"/>
    <a:srgbClr val="000000"/>
    <a:srgbClr val="181716"/>
    <a:srgbClr val="E6E6E6"/>
    <a:srgbClr val="D9D9D9"/>
    <a:srgbClr val="243A5E"/>
    <a:srgbClr val="0078D4"/>
    <a:srgbClr val="009ADE"/>
    <a:srgbClr val="C3E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BDC759-3668-454F-8005-F704478FE8B9}" v="338" dt="2022-03-15T01:35:48.928"/>
    <p1510:client id="{B370E88A-9849-F0FD-934B-E685CFC17A2B}" v="26" dt="2022-03-15T00:04:54.0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5643" autoAdjust="0"/>
    <p:restoredTop sz="84150" autoAdjust="0"/>
  </p:normalViewPr>
  <p:slideViewPr>
    <p:cSldViewPr snapToGrid="0">
      <p:cViewPr varScale="1">
        <p:scale>
          <a:sx n="107" d="100"/>
          <a:sy n="107" d="100"/>
        </p:scale>
        <p:origin x="1272" y="160"/>
      </p:cViewPr>
      <p:guideLst/>
    </p:cSldViewPr>
  </p:slideViewPr>
  <p:outlineViewPr>
    <p:cViewPr>
      <p:scale>
        <a:sx n="33" d="100"/>
        <a:sy n="33" d="100"/>
      </p:scale>
      <p:origin x="0" y="-6588"/>
    </p:cViewPr>
  </p:outlineViewPr>
  <p:notesTextViewPr>
    <p:cViewPr>
      <p:scale>
        <a:sx n="1" d="1"/>
        <a:sy n="1" d="1"/>
      </p:scale>
      <p:origin x="0" y="0"/>
    </p:cViewPr>
  </p:notesTextViewPr>
  <p:notesViewPr>
    <p:cSldViewPr snapToGrid="0">
      <p:cViewPr>
        <p:scale>
          <a:sx n="1" d="2"/>
          <a:sy n="1" d="2"/>
        </p:scale>
        <p:origin x="5296" y="1064"/>
      </p:cViewPr>
      <p:guideLst>
        <p:guide orient="horz" pos="3796"/>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commentAuthors" Target="commentAuthors.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handoutMaster" Target="handoutMasters/handoutMaster1.xml"/><Relationship Id="rId46" Type="http://schemas.microsoft.com/office/2018/10/relationships/authors" Target="authors.xml"/><Relationship Id="rId20" Type="http://schemas.openxmlformats.org/officeDocument/2006/relationships/slide" Target="slides/slide5.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y Lay-Flurrie (CELA)" userId="S::jennylf@microsoft.com::ce80fa8a-6939-44ff-841f-f3b6c6d2bf00" providerId="AD" clId="Web-{B370E88A-9849-F0FD-934B-E685CFC17A2B}"/>
    <pc:docChg chg="modSld">
      <pc:chgData name="Jenny Lay-Flurrie (CELA)" userId="S::jennylf@microsoft.com::ce80fa8a-6939-44ff-841f-f3b6c6d2bf00" providerId="AD" clId="Web-{B370E88A-9849-F0FD-934B-E685CFC17A2B}" dt="2022-03-15T00:04:53.825" v="15" actId="20577"/>
      <pc:docMkLst>
        <pc:docMk/>
      </pc:docMkLst>
      <pc:sldChg chg="addCm">
        <pc:chgData name="Jenny Lay-Flurrie (CELA)" userId="S::jennylf@microsoft.com::ce80fa8a-6939-44ff-841f-f3b6c6d2bf00" providerId="AD" clId="Web-{B370E88A-9849-F0FD-934B-E685CFC17A2B}" dt="2022-03-15T00:00:00.254" v="2"/>
        <pc:sldMkLst>
          <pc:docMk/>
          <pc:sldMk cId="3365147464" sldId="2053"/>
        </pc:sldMkLst>
      </pc:sldChg>
      <pc:sldChg chg="modSp">
        <pc:chgData name="Jenny Lay-Flurrie (CELA)" userId="S::jennylf@microsoft.com::ce80fa8a-6939-44ff-841f-f3b6c6d2bf00" providerId="AD" clId="Web-{B370E88A-9849-F0FD-934B-E685CFC17A2B}" dt="2022-03-14T23:59:07.628" v="1" actId="20577"/>
        <pc:sldMkLst>
          <pc:docMk/>
          <pc:sldMk cId="2695062055" sldId="2054"/>
        </pc:sldMkLst>
        <pc:spChg chg="mod">
          <ac:chgData name="Jenny Lay-Flurrie (CELA)" userId="S::jennylf@microsoft.com::ce80fa8a-6939-44ff-841f-f3b6c6d2bf00" providerId="AD" clId="Web-{B370E88A-9849-F0FD-934B-E685CFC17A2B}" dt="2022-03-14T23:59:07.628" v="1" actId="20577"/>
          <ac:spMkLst>
            <pc:docMk/>
            <pc:sldMk cId="2695062055" sldId="2054"/>
            <ac:spMk id="64" creationId="{0D656E8B-A00D-4842-A42E-88FE37376977}"/>
          </ac:spMkLst>
        </pc:spChg>
      </pc:sldChg>
      <pc:sldChg chg="modSp">
        <pc:chgData name="Jenny Lay-Flurrie (CELA)" userId="S::jennylf@microsoft.com::ce80fa8a-6939-44ff-841f-f3b6c6d2bf00" providerId="AD" clId="Web-{B370E88A-9849-F0FD-934B-E685CFC17A2B}" dt="2022-03-15T00:04:53.825" v="15" actId="20577"/>
        <pc:sldMkLst>
          <pc:docMk/>
          <pc:sldMk cId="1797130486" sldId="2147470116"/>
        </pc:sldMkLst>
        <pc:spChg chg="mod">
          <ac:chgData name="Jenny Lay-Flurrie (CELA)" userId="S::jennylf@microsoft.com::ce80fa8a-6939-44ff-841f-f3b6c6d2bf00" providerId="AD" clId="Web-{B370E88A-9849-F0FD-934B-E685CFC17A2B}" dt="2022-03-15T00:04:53.825" v="15" actId="20577"/>
          <ac:spMkLst>
            <pc:docMk/>
            <pc:sldMk cId="1797130486" sldId="2147470116"/>
            <ac:spMk id="8" creationId="{C96EEFB4-E43E-42B6-BC60-10ECD60C7B40}"/>
          </ac:spMkLst>
        </pc:spChg>
      </pc:sldChg>
    </pc:docChg>
  </pc:docChgLst>
  <pc:docChgLst>
    <pc:chgData name="William Thayer (CELA)" userId="12080223-4edc-449d-b2d6-f01098d434b3" providerId="ADAL" clId="{8ABDC759-3668-454F-8005-F704478FE8B9}"/>
    <pc:docChg chg="undo custSel addSld delSld modSld sldOrd delMainMaster modSection">
      <pc:chgData name="William Thayer (CELA)" userId="12080223-4edc-449d-b2d6-f01098d434b3" providerId="ADAL" clId="{8ABDC759-3668-454F-8005-F704478FE8B9}" dt="2022-03-15T14:55:54.874" v="2522" actId="20577"/>
      <pc:docMkLst>
        <pc:docMk/>
      </pc:docMkLst>
      <pc:sldChg chg="del">
        <pc:chgData name="William Thayer (CELA)" userId="12080223-4edc-449d-b2d6-f01098d434b3" providerId="ADAL" clId="{8ABDC759-3668-454F-8005-F704478FE8B9}" dt="2022-03-14T18:47:10.679" v="516" actId="47"/>
        <pc:sldMkLst>
          <pc:docMk/>
          <pc:sldMk cId="1233821964" sldId="256"/>
        </pc:sldMkLst>
      </pc:sldChg>
      <pc:sldChg chg="del">
        <pc:chgData name="William Thayer (CELA)" userId="12080223-4edc-449d-b2d6-f01098d434b3" providerId="ADAL" clId="{8ABDC759-3668-454F-8005-F704478FE8B9}" dt="2022-03-14T18:13:05.500" v="55" actId="47"/>
        <pc:sldMkLst>
          <pc:docMk/>
          <pc:sldMk cId="4271359717" sldId="1937"/>
        </pc:sldMkLst>
      </pc:sldChg>
      <pc:sldChg chg="modSp mod">
        <pc:chgData name="William Thayer (CELA)" userId="12080223-4edc-449d-b2d6-f01098d434b3" providerId="ADAL" clId="{8ABDC759-3668-454F-8005-F704478FE8B9}" dt="2022-03-14T19:27:07.944" v="824" actId="20577"/>
        <pc:sldMkLst>
          <pc:docMk/>
          <pc:sldMk cId="3349316556" sldId="1997"/>
        </pc:sldMkLst>
        <pc:spChg chg="mod">
          <ac:chgData name="William Thayer (CELA)" userId="12080223-4edc-449d-b2d6-f01098d434b3" providerId="ADAL" clId="{8ABDC759-3668-454F-8005-F704478FE8B9}" dt="2022-03-14T18:11:02.158" v="48" actId="313"/>
          <ac:spMkLst>
            <pc:docMk/>
            <pc:sldMk cId="3349316556" sldId="1997"/>
            <ac:spMk id="4" creationId="{00000000-0000-0000-0000-000000000000}"/>
          </ac:spMkLst>
        </pc:spChg>
        <pc:spChg chg="mod">
          <ac:chgData name="William Thayer (CELA)" userId="12080223-4edc-449d-b2d6-f01098d434b3" providerId="ADAL" clId="{8ABDC759-3668-454F-8005-F704478FE8B9}" dt="2022-03-14T19:27:07.944" v="824" actId="20577"/>
          <ac:spMkLst>
            <pc:docMk/>
            <pc:sldMk cId="3349316556" sldId="1997"/>
            <ac:spMk id="5" creationId="{00000000-0000-0000-0000-000000000000}"/>
          </ac:spMkLst>
        </pc:spChg>
      </pc:sldChg>
      <pc:sldChg chg="addSp modSp add del mod modCm">
        <pc:chgData name="William Thayer (CELA)" userId="12080223-4edc-449d-b2d6-f01098d434b3" providerId="ADAL" clId="{8ABDC759-3668-454F-8005-F704478FE8B9}" dt="2022-03-15T01:35:12.314" v="2168" actId="962"/>
        <pc:sldMkLst>
          <pc:docMk/>
          <pc:sldMk cId="3365147464" sldId="2053"/>
        </pc:sldMkLst>
        <pc:spChg chg="add mod">
          <ac:chgData name="William Thayer (CELA)" userId="12080223-4edc-449d-b2d6-f01098d434b3" providerId="ADAL" clId="{8ABDC759-3668-454F-8005-F704478FE8B9}" dt="2022-03-15T01:35:12.314" v="2168" actId="962"/>
          <ac:spMkLst>
            <pc:docMk/>
            <pc:sldMk cId="3365147464" sldId="2053"/>
            <ac:spMk id="2" creationId="{A0D4D115-A50F-46C7-BA09-F11272D1FD8E}"/>
          </ac:spMkLst>
        </pc:spChg>
        <pc:spChg chg="add mod">
          <ac:chgData name="William Thayer (CELA)" userId="12080223-4edc-449d-b2d6-f01098d434b3" providerId="ADAL" clId="{8ABDC759-3668-454F-8005-F704478FE8B9}" dt="2022-03-15T00:17:34.013" v="2014" actId="14100"/>
          <ac:spMkLst>
            <pc:docMk/>
            <pc:sldMk cId="3365147464" sldId="2053"/>
            <ac:spMk id="19" creationId="{6EB4FC8F-C63B-4FEA-9C78-DFB43EE894EA}"/>
          </ac:spMkLst>
        </pc:spChg>
      </pc:sldChg>
      <pc:sldChg chg="modSp add mod">
        <pc:chgData name="William Thayer (CELA)" userId="12080223-4edc-449d-b2d6-f01098d434b3" providerId="ADAL" clId="{8ABDC759-3668-454F-8005-F704478FE8B9}" dt="2022-03-14T22:20:30.523" v="1927"/>
        <pc:sldMkLst>
          <pc:docMk/>
          <pc:sldMk cId="2695062055" sldId="2054"/>
        </pc:sldMkLst>
        <pc:spChg chg="ord">
          <ac:chgData name="William Thayer (CELA)" userId="12080223-4edc-449d-b2d6-f01098d434b3" providerId="ADAL" clId="{8ABDC759-3668-454F-8005-F704478FE8B9}" dt="2022-03-14T22:20:26.890" v="1915"/>
          <ac:spMkLst>
            <pc:docMk/>
            <pc:sldMk cId="2695062055" sldId="2054"/>
            <ac:spMk id="50" creationId="{E4D17CDB-93EA-4228-A6B7-5BA8A37F64DD}"/>
          </ac:spMkLst>
        </pc:spChg>
        <pc:picChg chg="mod">
          <ac:chgData name="William Thayer (CELA)" userId="12080223-4edc-449d-b2d6-f01098d434b3" providerId="ADAL" clId="{8ABDC759-3668-454F-8005-F704478FE8B9}" dt="2022-03-14T22:20:20.704" v="1907"/>
          <ac:picMkLst>
            <pc:docMk/>
            <pc:sldMk cId="2695062055" sldId="2054"/>
            <ac:picMk id="57" creationId="{3C073608-6101-4FEB-AE80-70D5A303D2F1}"/>
          </ac:picMkLst>
        </pc:picChg>
        <pc:picChg chg="ord">
          <ac:chgData name="William Thayer (CELA)" userId="12080223-4edc-449d-b2d6-f01098d434b3" providerId="ADAL" clId="{8ABDC759-3668-454F-8005-F704478FE8B9}" dt="2022-03-14T22:20:30.523" v="1927"/>
          <ac:picMkLst>
            <pc:docMk/>
            <pc:sldMk cId="2695062055" sldId="2054"/>
            <ac:picMk id="63" creationId="{1A0523C3-6195-4FB1-AB72-7434DB35A2E9}"/>
          </ac:picMkLst>
        </pc:picChg>
      </pc:sldChg>
      <pc:sldChg chg="addSp delSp modSp mod ord modNotesTx">
        <pc:chgData name="William Thayer (CELA)" userId="12080223-4edc-449d-b2d6-f01098d434b3" providerId="ADAL" clId="{8ABDC759-3668-454F-8005-F704478FE8B9}" dt="2022-03-15T14:54:52.495" v="2517" actId="20577"/>
        <pc:sldMkLst>
          <pc:docMk/>
          <pc:sldMk cId="2488670224" sldId="2057"/>
        </pc:sldMkLst>
        <pc:spChg chg="add del mod">
          <ac:chgData name="William Thayer (CELA)" userId="12080223-4edc-449d-b2d6-f01098d434b3" providerId="ADAL" clId="{8ABDC759-3668-454F-8005-F704478FE8B9}" dt="2022-03-14T22:16:01.732" v="1287" actId="478"/>
          <ac:spMkLst>
            <pc:docMk/>
            <pc:sldMk cId="2488670224" sldId="2057"/>
            <ac:spMk id="2" creationId="{99D994E9-5843-475E-BA88-5AD655C8BD1D}"/>
          </ac:spMkLst>
        </pc:spChg>
        <pc:spChg chg="add mod">
          <ac:chgData name="William Thayer (CELA)" userId="12080223-4edc-449d-b2d6-f01098d434b3" providerId="ADAL" clId="{8ABDC759-3668-454F-8005-F704478FE8B9}" dt="2022-03-14T22:16:49.769" v="1377" actId="962"/>
          <ac:spMkLst>
            <pc:docMk/>
            <pc:sldMk cId="2488670224" sldId="2057"/>
            <ac:spMk id="5" creationId="{B4747835-456F-4B99-A889-AE2AA7ABC9FD}"/>
          </ac:spMkLst>
        </pc:spChg>
        <pc:spChg chg="add mod ord">
          <ac:chgData name="William Thayer (CELA)" userId="12080223-4edc-449d-b2d6-f01098d434b3" providerId="ADAL" clId="{8ABDC759-3668-454F-8005-F704478FE8B9}" dt="2022-03-14T22:19:37.145" v="1893"/>
          <ac:spMkLst>
            <pc:docMk/>
            <pc:sldMk cId="2488670224" sldId="2057"/>
            <ac:spMk id="7" creationId="{767BC1D4-AA94-4B62-A8D4-561C72317AB8}"/>
          </ac:spMkLst>
        </pc:spChg>
        <pc:spChg chg="mod">
          <ac:chgData name="William Thayer (CELA)" userId="12080223-4edc-449d-b2d6-f01098d434b3" providerId="ADAL" clId="{8ABDC759-3668-454F-8005-F704478FE8B9}" dt="2022-03-14T22:09:36.100" v="1212" actId="20577"/>
          <ac:spMkLst>
            <pc:docMk/>
            <pc:sldMk cId="2488670224" sldId="2057"/>
            <ac:spMk id="8" creationId="{C96EEFB4-E43E-42B6-BC60-10ECD60C7B40}"/>
          </ac:spMkLst>
        </pc:spChg>
        <pc:picChg chg="add mod ord">
          <ac:chgData name="William Thayer (CELA)" userId="12080223-4edc-449d-b2d6-f01098d434b3" providerId="ADAL" clId="{8ABDC759-3668-454F-8005-F704478FE8B9}" dt="2022-03-14T22:19:43.009" v="1895"/>
          <ac:picMkLst>
            <pc:docMk/>
            <pc:sldMk cId="2488670224" sldId="2057"/>
            <ac:picMk id="4" creationId="{DCD6E97A-38FE-437E-B6D5-EED373A17CDA}"/>
          </ac:picMkLst>
        </pc:picChg>
      </pc:sldChg>
      <pc:sldChg chg="addSp delSp modSp add del mod">
        <pc:chgData name="William Thayer (CELA)" userId="12080223-4edc-449d-b2d6-f01098d434b3" providerId="ADAL" clId="{8ABDC759-3668-454F-8005-F704478FE8B9}" dt="2022-03-15T01:38:20.603" v="2515" actId="404"/>
        <pc:sldMkLst>
          <pc:docMk/>
          <pc:sldMk cId="58110395" sldId="2059"/>
        </pc:sldMkLst>
        <pc:spChg chg="add mod ord">
          <ac:chgData name="William Thayer (CELA)" userId="12080223-4edc-449d-b2d6-f01098d434b3" providerId="ADAL" clId="{8ABDC759-3668-454F-8005-F704478FE8B9}" dt="2022-03-15T01:38:20.603" v="2515" actId="404"/>
          <ac:spMkLst>
            <pc:docMk/>
            <pc:sldMk cId="58110395" sldId="2059"/>
            <ac:spMk id="3" creationId="{B2B00FE3-56AD-433F-80FE-CEB129860F11}"/>
          </ac:spMkLst>
        </pc:spChg>
        <pc:spChg chg="add del mod ord">
          <ac:chgData name="William Thayer (CELA)" userId="12080223-4edc-449d-b2d6-f01098d434b3" providerId="ADAL" clId="{8ABDC759-3668-454F-8005-F704478FE8B9}" dt="2022-03-15T01:36:42.519" v="2488"/>
          <ac:spMkLst>
            <pc:docMk/>
            <pc:sldMk cId="58110395" sldId="2059"/>
            <ac:spMk id="4" creationId="{2FAC6A7A-3C74-459C-951E-4BF05DFEA3D6}"/>
          </ac:spMkLst>
        </pc:spChg>
        <pc:spChg chg="add del mod ord">
          <ac:chgData name="William Thayer (CELA)" userId="12080223-4edc-449d-b2d6-f01098d434b3" providerId="ADAL" clId="{8ABDC759-3668-454F-8005-F704478FE8B9}" dt="2022-03-15T01:37:45.359" v="2502"/>
          <ac:spMkLst>
            <pc:docMk/>
            <pc:sldMk cId="58110395" sldId="2059"/>
            <ac:spMk id="6" creationId="{FAE6A3E4-6BB5-4ABF-A44E-2367912E4C3E}"/>
          </ac:spMkLst>
        </pc:spChg>
      </pc:sldChg>
      <pc:sldChg chg="delSp del mod">
        <pc:chgData name="William Thayer (CELA)" userId="12080223-4edc-449d-b2d6-f01098d434b3" providerId="ADAL" clId="{8ABDC759-3668-454F-8005-F704478FE8B9}" dt="2022-03-14T18:42:31.162" v="441" actId="47"/>
        <pc:sldMkLst>
          <pc:docMk/>
          <pc:sldMk cId="1327488156" sldId="4865"/>
        </pc:sldMkLst>
        <pc:spChg chg="del">
          <ac:chgData name="William Thayer (CELA)" userId="12080223-4edc-449d-b2d6-f01098d434b3" providerId="ADAL" clId="{8ABDC759-3668-454F-8005-F704478FE8B9}" dt="2022-03-14T18:18:57.170" v="144" actId="478"/>
          <ac:spMkLst>
            <pc:docMk/>
            <pc:sldMk cId="1327488156" sldId="4865"/>
            <ac:spMk id="3" creationId="{310918FF-8D44-4EEF-A7A4-5DD91F365FB8}"/>
          </ac:spMkLst>
        </pc:spChg>
        <pc:spChg chg="del">
          <ac:chgData name="William Thayer (CELA)" userId="12080223-4edc-449d-b2d6-f01098d434b3" providerId="ADAL" clId="{8ABDC759-3668-454F-8005-F704478FE8B9}" dt="2022-03-14T18:18:58.754" v="145" actId="478"/>
          <ac:spMkLst>
            <pc:docMk/>
            <pc:sldMk cId="1327488156" sldId="4865"/>
            <ac:spMk id="6" creationId="{C6502BFB-FD06-4F34-8D5F-345803C93D28}"/>
          </ac:spMkLst>
        </pc:spChg>
        <pc:spChg chg="del">
          <ac:chgData name="William Thayer (CELA)" userId="12080223-4edc-449d-b2d6-f01098d434b3" providerId="ADAL" clId="{8ABDC759-3668-454F-8005-F704478FE8B9}" dt="2022-03-14T18:18:55.043" v="143" actId="478"/>
          <ac:spMkLst>
            <pc:docMk/>
            <pc:sldMk cId="1327488156" sldId="4865"/>
            <ac:spMk id="7" creationId="{12F87A30-1FA4-46FB-88FF-96C52FA7ABE1}"/>
          </ac:spMkLst>
        </pc:spChg>
        <pc:spChg chg="del">
          <ac:chgData name="William Thayer (CELA)" userId="12080223-4edc-449d-b2d6-f01098d434b3" providerId="ADAL" clId="{8ABDC759-3668-454F-8005-F704478FE8B9}" dt="2022-03-14T18:19:01.354" v="146" actId="478"/>
          <ac:spMkLst>
            <pc:docMk/>
            <pc:sldMk cId="1327488156" sldId="4865"/>
            <ac:spMk id="8" creationId="{F658BFF6-3E6F-40B5-938D-30F88FF50156}"/>
          </ac:spMkLst>
        </pc:spChg>
      </pc:sldChg>
      <pc:sldChg chg="del">
        <pc:chgData name="William Thayer (CELA)" userId="12080223-4edc-449d-b2d6-f01098d434b3" providerId="ADAL" clId="{8ABDC759-3668-454F-8005-F704478FE8B9}" dt="2022-03-14T18:48:15.369" v="518" actId="47"/>
        <pc:sldMkLst>
          <pc:docMk/>
          <pc:sldMk cId="3729238556" sldId="4879"/>
        </pc:sldMkLst>
      </pc:sldChg>
      <pc:sldChg chg="del">
        <pc:chgData name="William Thayer (CELA)" userId="12080223-4edc-449d-b2d6-f01098d434b3" providerId="ADAL" clId="{8ABDC759-3668-454F-8005-F704478FE8B9}" dt="2022-03-10T16:59:25.653" v="0" actId="47"/>
        <pc:sldMkLst>
          <pc:docMk/>
          <pc:sldMk cId="4036272672" sldId="9639"/>
        </pc:sldMkLst>
      </pc:sldChg>
      <pc:sldChg chg="del">
        <pc:chgData name="William Thayer (CELA)" userId="12080223-4edc-449d-b2d6-f01098d434b3" providerId="ADAL" clId="{8ABDC759-3668-454F-8005-F704478FE8B9}" dt="2022-03-14T18:47:01.619" v="512" actId="47"/>
        <pc:sldMkLst>
          <pc:docMk/>
          <pc:sldMk cId="446998637" sldId="10811"/>
        </pc:sldMkLst>
      </pc:sldChg>
      <pc:sldChg chg="del">
        <pc:chgData name="William Thayer (CELA)" userId="12080223-4edc-449d-b2d6-f01098d434b3" providerId="ADAL" clId="{8ABDC759-3668-454F-8005-F704478FE8B9}" dt="2022-03-14T18:47:02.053" v="513" actId="47"/>
        <pc:sldMkLst>
          <pc:docMk/>
          <pc:sldMk cId="3211931889" sldId="10812"/>
        </pc:sldMkLst>
      </pc:sldChg>
      <pc:sldChg chg="del">
        <pc:chgData name="William Thayer (CELA)" userId="12080223-4edc-449d-b2d6-f01098d434b3" providerId="ADAL" clId="{8ABDC759-3668-454F-8005-F704478FE8B9}" dt="2022-03-14T18:47:01.192" v="511" actId="47"/>
        <pc:sldMkLst>
          <pc:docMk/>
          <pc:sldMk cId="1683947249" sldId="10825"/>
        </pc:sldMkLst>
      </pc:sldChg>
      <pc:sldChg chg="del">
        <pc:chgData name="William Thayer (CELA)" userId="12080223-4edc-449d-b2d6-f01098d434b3" providerId="ADAL" clId="{8ABDC759-3668-454F-8005-F704478FE8B9}" dt="2022-03-14T18:47:02.537" v="514" actId="47"/>
        <pc:sldMkLst>
          <pc:docMk/>
          <pc:sldMk cId="3735810170" sldId="10826"/>
        </pc:sldMkLst>
      </pc:sldChg>
      <pc:sldChg chg="add del ord">
        <pc:chgData name="William Thayer (CELA)" userId="12080223-4edc-449d-b2d6-f01098d434b3" providerId="ADAL" clId="{8ABDC759-3668-454F-8005-F704478FE8B9}" dt="2022-03-14T18:27:16.170" v="362"/>
        <pc:sldMkLst>
          <pc:docMk/>
          <pc:sldMk cId="15016001" sldId="2134805442"/>
        </pc:sldMkLst>
      </pc:sldChg>
      <pc:sldChg chg="addSp delSp modSp add del mod ord">
        <pc:chgData name="William Thayer (CELA)" userId="12080223-4edc-449d-b2d6-f01098d434b3" providerId="ADAL" clId="{8ABDC759-3668-454F-8005-F704478FE8B9}" dt="2022-03-14T22:06:11.063" v="1203" actId="47"/>
        <pc:sldMkLst>
          <pc:docMk/>
          <pc:sldMk cId="1396859961" sldId="2146846560"/>
        </pc:sldMkLst>
        <pc:spChg chg="add mod">
          <ac:chgData name="William Thayer (CELA)" userId="12080223-4edc-449d-b2d6-f01098d434b3" providerId="ADAL" clId="{8ABDC759-3668-454F-8005-F704478FE8B9}" dt="2022-03-14T22:00:25.794" v="1168" actId="1038"/>
          <ac:spMkLst>
            <pc:docMk/>
            <pc:sldMk cId="1396859961" sldId="2146846560"/>
            <ac:spMk id="3" creationId="{1A7A535E-4B14-4D36-8176-3BBBB4E8591E}"/>
          </ac:spMkLst>
        </pc:spChg>
        <pc:spChg chg="mod">
          <ac:chgData name="William Thayer (CELA)" userId="12080223-4edc-449d-b2d6-f01098d434b3" providerId="ADAL" clId="{8ABDC759-3668-454F-8005-F704478FE8B9}" dt="2022-03-14T22:00:25.794" v="1168" actId="1038"/>
          <ac:spMkLst>
            <pc:docMk/>
            <pc:sldMk cId="1396859961" sldId="2146846560"/>
            <ac:spMk id="5" creationId="{A03F7211-514D-4B8D-BE2B-178AD2B42AD7}"/>
          </ac:spMkLst>
        </pc:spChg>
        <pc:spChg chg="del mod">
          <ac:chgData name="William Thayer (CELA)" userId="12080223-4edc-449d-b2d6-f01098d434b3" providerId="ADAL" clId="{8ABDC759-3668-454F-8005-F704478FE8B9}" dt="2022-03-14T21:55:27.036" v="1042" actId="478"/>
          <ac:spMkLst>
            <pc:docMk/>
            <pc:sldMk cId="1396859961" sldId="2146846560"/>
            <ac:spMk id="8" creationId="{BF17E019-CBB3-4F8C-B182-68457F6E0557}"/>
          </ac:spMkLst>
        </pc:spChg>
        <pc:spChg chg="add mod">
          <ac:chgData name="William Thayer (CELA)" userId="12080223-4edc-449d-b2d6-f01098d434b3" providerId="ADAL" clId="{8ABDC759-3668-454F-8005-F704478FE8B9}" dt="2022-03-14T22:00:25.794" v="1168" actId="1038"/>
          <ac:spMkLst>
            <pc:docMk/>
            <pc:sldMk cId="1396859961" sldId="2146846560"/>
            <ac:spMk id="10" creationId="{902FCE9D-6541-4208-992D-694D471CEC8D}"/>
          </ac:spMkLst>
        </pc:spChg>
        <pc:spChg chg="add del mod">
          <ac:chgData name="William Thayer (CELA)" userId="12080223-4edc-449d-b2d6-f01098d434b3" providerId="ADAL" clId="{8ABDC759-3668-454F-8005-F704478FE8B9}" dt="2022-03-14T22:03:30.502" v="1174" actId="478"/>
          <ac:spMkLst>
            <pc:docMk/>
            <pc:sldMk cId="1396859961" sldId="2146846560"/>
            <ac:spMk id="11" creationId="{FB2F2698-676C-42F8-8DB9-C0A27DA3E4C1}"/>
          </ac:spMkLst>
        </pc:spChg>
        <pc:spChg chg="add del mod">
          <ac:chgData name="William Thayer (CELA)" userId="12080223-4edc-449d-b2d6-f01098d434b3" providerId="ADAL" clId="{8ABDC759-3668-454F-8005-F704478FE8B9}" dt="2022-03-14T22:03:28.764" v="1173" actId="478"/>
          <ac:spMkLst>
            <pc:docMk/>
            <pc:sldMk cId="1396859961" sldId="2146846560"/>
            <ac:spMk id="13" creationId="{25F62F8A-3419-4843-81E5-AFDED6679146}"/>
          </ac:spMkLst>
        </pc:spChg>
        <pc:spChg chg="del mod">
          <ac:chgData name="William Thayer (CELA)" userId="12080223-4edc-449d-b2d6-f01098d434b3" providerId="ADAL" clId="{8ABDC759-3668-454F-8005-F704478FE8B9}" dt="2022-03-14T21:55:29.888" v="1043" actId="478"/>
          <ac:spMkLst>
            <pc:docMk/>
            <pc:sldMk cId="1396859961" sldId="2146846560"/>
            <ac:spMk id="15" creationId="{2590E106-8BA7-4303-963B-A5CB4754A5AD}"/>
          </ac:spMkLst>
        </pc:spChg>
        <pc:spChg chg="del">
          <ac:chgData name="William Thayer (CELA)" userId="12080223-4edc-449d-b2d6-f01098d434b3" providerId="ADAL" clId="{8ABDC759-3668-454F-8005-F704478FE8B9}" dt="2022-03-14T21:55:29.888" v="1043" actId="478"/>
          <ac:spMkLst>
            <pc:docMk/>
            <pc:sldMk cId="1396859961" sldId="2146846560"/>
            <ac:spMk id="16" creationId="{0C665333-C1BC-41EB-ACDB-6CB2BFBE4046}"/>
          </ac:spMkLst>
        </pc:spChg>
        <pc:spChg chg="del mod">
          <ac:chgData name="William Thayer (CELA)" userId="12080223-4edc-449d-b2d6-f01098d434b3" providerId="ADAL" clId="{8ABDC759-3668-454F-8005-F704478FE8B9}" dt="2022-03-14T21:55:27.036" v="1042" actId="478"/>
          <ac:spMkLst>
            <pc:docMk/>
            <pc:sldMk cId="1396859961" sldId="2146846560"/>
            <ac:spMk id="18" creationId="{BA47DD68-1277-475F-8F42-4BCC457AD67A}"/>
          </ac:spMkLst>
        </pc:spChg>
        <pc:spChg chg="mod">
          <ac:chgData name="William Thayer (CELA)" userId="12080223-4edc-449d-b2d6-f01098d434b3" providerId="ADAL" clId="{8ABDC759-3668-454F-8005-F704478FE8B9}" dt="2022-03-14T22:03:53.175" v="1175" actId="242"/>
          <ac:spMkLst>
            <pc:docMk/>
            <pc:sldMk cId="1396859961" sldId="2146846560"/>
            <ac:spMk id="31" creationId="{A4CC0BDD-BDAA-41D0-962F-C5676952359B}"/>
          </ac:spMkLst>
        </pc:spChg>
        <pc:picChg chg="add del mod">
          <ac:chgData name="William Thayer (CELA)" userId="12080223-4edc-449d-b2d6-f01098d434b3" providerId="ADAL" clId="{8ABDC759-3668-454F-8005-F704478FE8B9}" dt="2022-03-14T21:56:24.625" v="1046" actId="478"/>
          <ac:picMkLst>
            <pc:docMk/>
            <pc:sldMk cId="1396859961" sldId="2146846560"/>
            <ac:picMk id="2" creationId="{AB61D3E9-C117-4E04-B8E9-3230264F8FFD}"/>
          </ac:picMkLst>
        </pc:picChg>
        <pc:picChg chg="mod">
          <ac:chgData name="William Thayer (CELA)" userId="12080223-4edc-449d-b2d6-f01098d434b3" providerId="ADAL" clId="{8ABDC759-3668-454F-8005-F704478FE8B9}" dt="2022-03-14T22:00:25.794" v="1168" actId="1038"/>
          <ac:picMkLst>
            <pc:docMk/>
            <pc:sldMk cId="1396859961" sldId="2146846560"/>
            <ac:picMk id="4" creationId="{94F057A2-A31F-47BA-911A-1E4DDF59C9E1}"/>
          </ac:picMkLst>
        </pc:picChg>
        <pc:picChg chg="add mod">
          <ac:chgData name="William Thayer (CELA)" userId="12080223-4edc-449d-b2d6-f01098d434b3" providerId="ADAL" clId="{8ABDC759-3668-454F-8005-F704478FE8B9}" dt="2022-03-14T22:00:25.794" v="1168" actId="1038"/>
          <ac:picMkLst>
            <pc:docMk/>
            <pc:sldMk cId="1396859961" sldId="2146846560"/>
            <ac:picMk id="6" creationId="{8F32A93A-38F2-410C-B915-4111CDC21504}"/>
          </ac:picMkLst>
        </pc:picChg>
        <pc:picChg chg="del">
          <ac:chgData name="William Thayer (CELA)" userId="12080223-4edc-449d-b2d6-f01098d434b3" providerId="ADAL" clId="{8ABDC759-3668-454F-8005-F704478FE8B9}" dt="2022-03-14T21:55:27.036" v="1042" actId="478"/>
          <ac:picMkLst>
            <pc:docMk/>
            <pc:sldMk cId="1396859961" sldId="2146846560"/>
            <ac:picMk id="7" creationId="{B9AFA3DD-DB7B-41C5-AFDB-E31AC6B28759}"/>
          </ac:picMkLst>
        </pc:picChg>
        <pc:picChg chg="add mod">
          <ac:chgData name="William Thayer (CELA)" userId="12080223-4edc-449d-b2d6-f01098d434b3" providerId="ADAL" clId="{8ABDC759-3668-454F-8005-F704478FE8B9}" dt="2022-03-14T22:00:25.794" v="1168" actId="1038"/>
          <ac:picMkLst>
            <pc:docMk/>
            <pc:sldMk cId="1396859961" sldId="2146846560"/>
            <ac:picMk id="9" creationId="{40DC86D3-426C-4640-9C7A-BF842CE095C0}"/>
          </ac:picMkLst>
        </pc:picChg>
        <pc:picChg chg="add del mod">
          <ac:chgData name="William Thayer (CELA)" userId="12080223-4edc-449d-b2d6-f01098d434b3" providerId="ADAL" clId="{8ABDC759-3668-454F-8005-F704478FE8B9}" dt="2022-03-14T22:03:27.921" v="1172" actId="478"/>
          <ac:picMkLst>
            <pc:docMk/>
            <pc:sldMk cId="1396859961" sldId="2146846560"/>
            <ac:picMk id="20" creationId="{9862EF39-CA2E-488D-946F-3B5D0D07499E}"/>
          </ac:picMkLst>
        </pc:picChg>
        <pc:picChg chg="del">
          <ac:chgData name="William Thayer (CELA)" userId="12080223-4edc-449d-b2d6-f01098d434b3" providerId="ADAL" clId="{8ABDC759-3668-454F-8005-F704478FE8B9}" dt="2022-03-14T21:55:29.888" v="1043" actId="478"/>
          <ac:picMkLst>
            <pc:docMk/>
            <pc:sldMk cId="1396859961" sldId="2146846560"/>
            <ac:picMk id="1026" creationId="{139AEB66-CB9E-4BAC-8166-92F6FAC2E1E4}"/>
          </ac:picMkLst>
        </pc:picChg>
        <pc:picChg chg="del">
          <ac:chgData name="William Thayer (CELA)" userId="12080223-4edc-449d-b2d6-f01098d434b3" providerId="ADAL" clId="{8ABDC759-3668-454F-8005-F704478FE8B9}" dt="2022-03-14T21:55:27.036" v="1042" actId="478"/>
          <ac:picMkLst>
            <pc:docMk/>
            <pc:sldMk cId="1396859961" sldId="2146846560"/>
            <ac:picMk id="1028" creationId="{DD40CDBD-2DD2-4A94-B353-2AA0426C954F}"/>
          </ac:picMkLst>
        </pc:picChg>
      </pc:sldChg>
      <pc:sldChg chg="modSp add del mod">
        <pc:chgData name="William Thayer (CELA)" userId="12080223-4edc-449d-b2d6-f01098d434b3" providerId="ADAL" clId="{8ABDC759-3668-454F-8005-F704478FE8B9}" dt="2022-03-14T18:54:38.498" v="776" actId="108"/>
        <pc:sldMkLst>
          <pc:docMk/>
          <pc:sldMk cId="1607244821" sldId="2147470086"/>
        </pc:sldMkLst>
        <pc:spChg chg="mod">
          <ac:chgData name="William Thayer (CELA)" userId="12080223-4edc-449d-b2d6-f01098d434b3" providerId="ADAL" clId="{8ABDC759-3668-454F-8005-F704478FE8B9}" dt="2022-03-14T18:54:32.701" v="774" actId="403"/>
          <ac:spMkLst>
            <pc:docMk/>
            <pc:sldMk cId="1607244821" sldId="2147470086"/>
            <ac:spMk id="11" creationId="{835C1A93-2FE2-4D86-9841-1CC00CD1BAF5}"/>
          </ac:spMkLst>
        </pc:spChg>
        <pc:spChg chg="mod">
          <ac:chgData name="William Thayer (CELA)" userId="12080223-4edc-449d-b2d6-f01098d434b3" providerId="ADAL" clId="{8ABDC759-3668-454F-8005-F704478FE8B9}" dt="2022-03-14T18:54:36.739" v="775" actId="108"/>
          <ac:spMkLst>
            <pc:docMk/>
            <pc:sldMk cId="1607244821" sldId="2147470086"/>
            <ac:spMk id="12" creationId="{6BB7D67C-6E65-47B0-BA62-DB674128E825}"/>
          </ac:spMkLst>
        </pc:spChg>
        <pc:spChg chg="mod">
          <ac:chgData name="William Thayer (CELA)" userId="12080223-4edc-449d-b2d6-f01098d434b3" providerId="ADAL" clId="{8ABDC759-3668-454F-8005-F704478FE8B9}" dt="2022-03-14T18:54:38.498" v="776" actId="108"/>
          <ac:spMkLst>
            <pc:docMk/>
            <pc:sldMk cId="1607244821" sldId="2147470086"/>
            <ac:spMk id="13" creationId="{DEF2173A-05AE-4B72-A271-980340480C69}"/>
          </ac:spMkLst>
        </pc:spChg>
      </pc:sldChg>
      <pc:sldChg chg="modSp mod ord">
        <pc:chgData name="William Thayer (CELA)" userId="12080223-4edc-449d-b2d6-f01098d434b3" providerId="ADAL" clId="{8ABDC759-3668-454F-8005-F704478FE8B9}" dt="2022-03-14T18:19:42.799" v="164" actId="5793"/>
        <pc:sldMkLst>
          <pc:docMk/>
          <pc:sldMk cId="9266447" sldId="2147470090"/>
        </pc:sldMkLst>
        <pc:spChg chg="mod">
          <ac:chgData name="William Thayer (CELA)" userId="12080223-4edc-449d-b2d6-f01098d434b3" providerId="ADAL" clId="{8ABDC759-3668-454F-8005-F704478FE8B9}" dt="2022-03-14T18:19:42.799" v="164" actId="5793"/>
          <ac:spMkLst>
            <pc:docMk/>
            <pc:sldMk cId="9266447" sldId="2147470090"/>
            <ac:spMk id="4" creationId="{C3B050EC-A584-453E-8396-7FFCF79268AC}"/>
          </ac:spMkLst>
        </pc:spChg>
      </pc:sldChg>
      <pc:sldChg chg="del ord">
        <pc:chgData name="William Thayer (CELA)" userId="12080223-4edc-449d-b2d6-f01098d434b3" providerId="ADAL" clId="{8ABDC759-3668-454F-8005-F704478FE8B9}" dt="2022-03-14T18:45:05.650" v="446" actId="47"/>
        <pc:sldMkLst>
          <pc:docMk/>
          <pc:sldMk cId="3102163572" sldId="2147470091"/>
        </pc:sldMkLst>
      </pc:sldChg>
      <pc:sldChg chg="del">
        <pc:chgData name="William Thayer (CELA)" userId="12080223-4edc-449d-b2d6-f01098d434b3" providerId="ADAL" clId="{8ABDC759-3668-454F-8005-F704478FE8B9}" dt="2022-03-14T18:46:46.582" v="504" actId="47"/>
        <pc:sldMkLst>
          <pc:docMk/>
          <pc:sldMk cId="2104520507" sldId="2147470092"/>
        </pc:sldMkLst>
      </pc:sldChg>
      <pc:sldChg chg="del">
        <pc:chgData name="William Thayer (CELA)" userId="12080223-4edc-449d-b2d6-f01098d434b3" providerId="ADAL" clId="{8ABDC759-3668-454F-8005-F704478FE8B9}" dt="2022-03-14T18:46:45.022" v="503" actId="47"/>
        <pc:sldMkLst>
          <pc:docMk/>
          <pc:sldMk cId="1892337294" sldId="2147470093"/>
        </pc:sldMkLst>
      </pc:sldChg>
      <pc:sldChg chg="del">
        <pc:chgData name="William Thayer (CELA)" userId="12080223-4edc-449d-b2d6-f01098d434b3" providerId="ADAL" clId="{8ABDC759-3668-454F-8005-F704478FE8B9}" dt="2022-03-14T18:46:55.402" v="506" actId="47"/>
        <pc:sldMkLst>
          <pc:docMk/>
          <pc:sldMk cId="3373838964" sldId="2147470096"/>
        </pc:sldMkLst>
      </pc:sldChg>
      <pc:sldChg chg="del">
        <pc:chgData name="William Thayer (CELA)" userId="12080223-4edc-449d-b2d6-f01098d434b3" providerId="ADAL" clId="{8ABDC759-3668-454F-8005-F704478FE8B9}" dt="2022-03-14T18:47:08.710" v="515" actId="47"/>
        <pc:sldMkLst>
          <pc:docMk/>
          <pc:sldMk cId="2186602690" sldId="2147470097"/>
        </pc:sldMkLst>
      </pc:sldChg>
      <pc:sldChg chg="del">
        <pc:chgData name="William Thayer (CELA)" userId="12080223-4edc-449d-b2d6-f01098d434b3" providerId="ADAL" clId="{8ABDC759-3668-454F-8005-F704478FE8B9}" dt="2022-03-14T18:46:59.582" v="510" actId="47"/>
        <pc:sldMkLst>
          <pc:docMk/>
          <pc:sldMk cId="2032643377" sldId="2147470098"/>
        </pc:sldMkLst>
      </pc:sldChg>
      <pc:sldChg chg="del">
        <pc:chgData name="William Thayer (CELA)" userId="12080223-4edc-449d-b2d6-f01098d434b3" providerId="ADAL" clId="{8ABDC759-3668-454F-8005-F704478FE8B9}" dt="2022-03-14T18:46:57.244" v="508" actId="47"/>
        <pc:sldMkLst>
          <pc:docMk/>
          <pc:sldMk cId="612532136" sldId="2147470101"/>
        </pc:sldMkLst>
      </pc:sldChg>
      <pc:sldChg chg="del">
        <pc:chgData name="William Thayer (CELA)" userId="12080223-4edc-449d-b2d6-f01098d434b3" providerId="ADAL" clId="{8ABDC759-3668-454F-8005-F704478FE8B9}" dt="2022-03-14T18:46:55.912" v="507" actId="47"/>
        <pc:sldMkLst>
          <pc:docMk/>
          <pc:sldMk cId="4100953577" sldId="2147470102"/>
        </pc:sldMkLst>
      </pc:sldChg>
      <pc:sldChg chg="del">
        <pc:chgData name="William Thayer (CELA)" userId="12080223-4edc-449d-b2d6-f01098d434b3" providerId="ADAL" clId="{8ABDC759-3668-454F-8005-F704478FE8B9}" dt="2022-03-14T18:46:57.812" v="509" actId="47"/>
        <pc:sldMkLst>
          <pc:docMk/>
          <pc:sldMk cId="2325117694" sldId="2147470103"/>
        </pc:sldMkLst>
      </pc:sldChg>
      <pc:sldChg chg="del">
        <pc:chgData name="William Thayer (CELA)" userId="12080223-4edc-449d-b2d6-f01098d434b3" providerId="ADAL" clId="{8ABDC759-3668-454F-8005-F704478FE8B9}" dt="2022-03-14T18:46:53.804" v="505" actId="47"/>
        <pc:sldMkLst>
          <pc:docMk/>
          <pc:sldMk cId="3912233858" sldId="2147470105"/>
        </pc:sldMkLst>
      </pc:sldChg>
      <pc:sldChg chg="del">
        <pc:chgData name="William Thayer (CELA)" userId="12080223-4edc-449d-b2d6-f01098d434b3" providerId="ADAL" clId="{8ABDC759-3668-454F-8005-F704478FE8B9}" dt="2022-03-14T18:47:11.393" v="517" actId="47"/>
        <pc:sldMkLst>
          <pc:docMk/>
          <pc:sldMk cId="3767783195" sldId="2147470109"/>
        </pc:sldMkLst>
      </pc:sldChg>
      <pc:sldChg chg="addSp modSp new del mod ord modShow">
        <pc:chgData name="William Thayer (CELA)" userId="12080223-4edc-449d-b2d6-f01098d434b3" providerId="ADAL" clId="{8ABDC759-3668-454F-8005-F704478FE8B9}" dt="2022-03-14T18:55:34.297" v="782" actId="47"/>
        <pc:sldMkLst>
          <pc:docMk/>
          <pc:sldMk cId="2554127250" sldId="2147470110"/>
        </pc:sldMkLst>
        <pc:picChg chg="add mod">
          <ac:chgData name="William Thayer (CELA)" userId="12080223-4edc-449d-b2d6-f01098d434b3" providerId="ADAL" clId="{8ABDC759-3668-454F-8005-F704478FE8B9}" dt="2022-03-14T18:22:01.373" v="212" actId="14100"/>
          <ac:picMkLst>
            <pc:docMk/>
            <pc:sldMk cId="2554127250" sldId="2147470110"/>
            <ac:picMk id="1026" creationId="{044417E8-1383-44F8-A513-F1CB808EE289}"/>
          </ac:picMkLst>
        </pc:picChg>
      </pc:sldChg>
      <pc:sldChg chg="addSp delSp modSp new del mod setBg setClrOvrMap">
        <pc:chgData name="William Thayer (CELA)" userId="12080223-4edc-449d-b2d6-f01098d434b3" providerId="ADAL" clId="{8ABDC759-3668-454F-8005-F704478FE8B9}" dt="2022-03-14T21:46:25.345" v="962" actId="47"/>
        <pc:sldMkLst>
          <pc:docMk/>
          <pc:sldMk cId="4266688354" sldId="2147470111"/>
        </pc:sldMkLst>
        <pc:spChg chg="del mod">
          <ac:chgData name="William Thayer (CELA)" userId="12080223-4edc-449d-b2d6-f01098d434b3" providerId="ADAL" clId="{8ABDC759-3668-454F-8005-F704478FE8B9}" dt="2022-03-14T18:23:18.583" v="219" actId="478"/>
          <ac:spMkLst>
            <pc:docMk/>
            <pc:sldMk cId="4266688354" sldId="2147470111"/>
            <ac:spMk id="2" creationId="{306F309A-2A7E-40E8-A07B-DFBFFB0DC139}"/>
          </ac:spMkLst>
        </pc:spChg>
        <pc:spChg chg="add del mod">
          <ac:chgData name="William Thayer (CELA)" userId="12080223-4edc-449d-b2d6-f01098d434b3" providerId="ADAL" clId="{8ABDC759-3668-454F-8005-F704478FE8B9}" dt="2022-03-14T18:15:23.023" v="93"/>
          <ac:spMkLst>
            <pc:docMk/>
            <pc:sldMk cId="4266688354" sldId="2147470111"/>
            <ac:spMk id="6" creationId="{29A5E7F8-F89C-4608-96B6-D8F79BB9BCC9}"/>
          </ac:spMkLst>
        </pc:spChg>
        <pc:spChg chg="add del mod">
          <ac:chgData name="William Thayer (CELA)" userId="12080223-4edc-449d-b2d6-f01098d434b3" providerId="ADAL" clId="{8ABDC759-3668-454F-8005-F704478FE8B9}" dt="2022-03-14T21:45:31.878" v="950" actId="21"/>
          <ac:spMkLst>
            <pc:docMk/>
            <pc:sldMk cId="4266688354" sldId="2147470111"/>
            <ac:spMk id="7" creationId="{8535FB8B-B775-4405-9BB3-931B211D926B}"/>
          </ac:spMkLst>
        </pc:spChg>
        <pc:spChg chg="add mod">
          <ac:chgData name="William Thayer (CELA)" userId="12080223-4edc-449d-b2d6-f01098d434b3" providerId="ADAL" clId="{8ABDC759-3668-454F-8005-F704478FE8B9}" dt="2022-03-14T18:26:11.951" v="356" actId="14100"/>
          <ac:spMkLst>
            <pc:docMk/>
            <pc:sldMk cId="4266688354" sldId="2147470111"/>
            <ac:spMk id="11" creationId="{9520D12B-997F-4AC4-BA08-E7053310A892}"/>
          </ac:spMkLst>
        </pc:spChg>
        <pc:spChg chg="add del mod">
          <ac:chgData name="William Thayer (CELA)" userId="12080223-4edc-449d-b2d6-f01098d434b3" providerId="ADAL" clId="{8ABDC759-3668-454F-8005-F704478FE8B9}" dt="2022-03-14T21:45:31.878" v="950" actId="21"/>
          <ac:spMkLst>
            <pc:docMk/>
            <pc:sldMk cId="4266688354" sldId="2147470111"/>
            <ac:spMk id="12" creationId="{F986C999-0BCF-494C-89F4-B122632DBF23}"/>
          </ac:spMkLst>
        </pc:spChg>
        <pc:picChg chg="add del mod modCrop">
          <ac:chgData name="William Thayer (CELA)" userId="12080223-4edc-449d-b2d6-f01098d434b3" providerId="ADAL" clId="{8ABDC759-3668-454F-8005-F704478FE8B9}" dt="2022-03-14T18:23:09.673" v="216" actId="478"/>
          <ac:picMkLst>
            <pc:docMk/>
            <pc:sldMk cId="4266688354" sldId="2147470111"/>
            <ac:picMk id="4" creationId="{9B5660AF-472F-41A8-AFCB-5C296FFB6395}"/>
          </ac:picMkLst>
        </pc:picChg>
        <pc:picChg chg="add del mod">
          <ac:chgData name="William Thayer (CELA)" userId="12080223-4edc-449d-b2d6-f01098d434b3" providerId="ADAL" clId="{8ABDC759-3668-454F-8005-F704478FE8B9}" dt="2022-03-14T21:44:09.231" v="902" actId="962"/>
          <ac:picMkLst>
            <pc:docMk/>
            <pc:sldMk cId="4266688354" sldId="2147470111"/>
            <ac:picMk id="9" creationId="{52D31561-5227-410A-B360-7C3F55F8646D}"/>
          </ac:picMkLst>
        </pc:picChg>
      </pc:sldChg>
      <pc:sldChg chg="modSp add mod ord">
        <pc:chgData name="William Thayer (CELA)" userId="12080223-4edc-449d-b2d6-f01098d434b3" providerId="ADAL" clId="{8ABDC759-3668-454F-8005-F704478FE8B9}" dt="2022-03-14T18:46:00.761" v="483"/>
        <pc:sldMkLst>
          <pc:docMk/>
          <pc:sldMk cId="3892867231" sldId="2147470112"/>
        </pc:sldMkLst>
        <pc:spChg chg="mod">
          <ac:chgData name="William Thayer (CELA)" userId="12080223-4edc-449d-b2d6-f01098d434b3" providerId="ADAL" clId="{8ABDC759-3668-454F-8005-F704478FE8B9}" dt="2022-03-14T18:45:56.428" v="481" actId="20577"/>
          <ac:spMkLst>
            <pc:docMk/>
            <pc:sldMk cId="3892867231" sldId="2147470112"/>
            <ac:spMk id="4" creationId="{C3B050EC-A584-453E-8396-7FFCF79268AC}"/>
          </ac:spMkLst>
        </pc:spChg>
      </pc:sldChg>
      <pc:sldChg chg="addSp delSp modSp add del mod">
        <pc:chgData name="William Thayer (CELA)" userId="12080223-4edc-449d-b2d6-f01098d434b3" providerId="ADAL" clId="{8ABDC759-3668-454F-8005-F704478FE8B9}" dt="2022-03-14T18:16:54.123" v="120" actId="47"/>
        <pc:sldMkLst>
          <pc:docMk/>
          <pc:sldMk cId="4182893140" sldId="2147470112"/>
        </pc:sldMkLst>
        <pc:spChg chg="del">
          <ac:chgData name="William Thayer (CELA)" userId="12080223-4edc-449d-b2d6-f01098d434b3" providerId="ADAL" clId="{8ABDC759-3668-454F-8005-F704478FE8B9}" dt="2022-03-14T18:13:23.129" v="60" actId="478"/>
          <ac:spMkLst>
            <pc:docMk/>
            <pc:sldMk cId="4182893140" sldId="2147470112"/>
            <ac:spMk id="2" creationId="{1A2B270E-4A69-4C2F-BCDE-2CDE572612CA}"/>
          </ac:spMkLst>
        </pc:spChg>
        <pc:spChg chg="del">
          <ac:chgData name="William Thayer (CELA)" userId="12080223-4edc-449d-b2d6-f01098d434b3" providerId="ADAL" clId="{8ABDC759-3668-454F-8005-F704478FE8B9}" dt="2022-03-14T18:13:23.129" v="60" actId="478"/>
          <ac:spMkLst>
            <pc:docMk/>
            <pc:sldMk cId="4182893140" sldId="2147470112"/>
            <ac:spMk id="4" creationId="{F34D17F0-9CF9-4EB8-B16D-94FFE5F0CBDF}"/>
          </ac:spMkLst>
        </pc:spChg>
        <pc:spChg chg="add mod">
          <ac:chgData name="William Thayer (CELA)" userId="12080223-4edc-449d-b2d6-f01098d434b3" providerId="ADAL" clId="{8ABDC759-3668-454F-8005-F704478FE8B9}" dt="2022-03-14T18:13:23.129" v="60" actId="478"/>
          <ac:spMkLst>
            <pc:docMk/>
            <pc:sldMk cId="4182893140" sldId="2147470112"/>
            <ac:spMk id="5" creationId="{B6963D5F-20EC-4A0C-BEFE-565C6DC42349}"/>
          </ac:spMkLst>
        </pc:spChg>
        <pc:spChg chg="del">
          <ac:chgData name="William Thayer (CELA)" userId="12080223-4edc-449d-b2d6-f01098d434b3" providerId="ADAL" clId="{8ABDC759-3668-454F-8005-F704478FE8B9}" dt="2022-03-14T18:13:23.129" v="60" actId="478"/>
          <ac:spMkLst>
            <pc:docMk/>
            <pc:sldMk cId="4182893140" sldId="2147470112"/>
            <ac:spMk id="6" creationId="{C69FC64F-81DE-42BF-AFC0-E967520E29F8}"/>
          </ac:spMkLst>
        </pc:spChg>
        <pc:spChg chg="del">
          <ac:chgData name="William Thayer (CELA)" userId="12080223-4edc-449d-b2d6-f01098d434b3" providerId="ADAL" clId="{8ABDC759-3668-454F-8005-F704478FE8B9}" dt="2022-03-14T18:13:23.129" v="60" actId="478"/>
          <ac:spMkLst>
            <pc:docMk/>
            <pc:sldMk cId="4182893140" sldId="2147470112"/>
            <ac:spMk id="9" creationId="{A3BF6E52-FB3A-4C43-B972-FF63CDB6E6F7}"/>
          </ac:spMkLst>
        </pc:spChg>
        <pc:spChg chg="del">
          <ac:chgData name="William Thayer (CELA)" userId="12080223-4edc-449d-b2d6-f01098d434b3" providerId="ADAL" clId="{8ABDC759-3668-454F-8005-F704478FE8B9}" dt="2022-03-14T18:13:23.129" v="60" actId="478"/>
          <ac:spMkLst>
            <pc:docMk/>
            <pc:sldMk cId="4182893140" sldId="2147470112"/>
            <ac:spMk id="11" creationId="{E85B78BD-3046-46FD-8FE7-491557696CAE}"/>
          </ac:spMkLst>
        </pc:spChg>
        <pc:spChg chg="del">
          <ac:chgData name="William Thayer (CELA)" userId="12080223-4edc-449d-b2d6-f01098d434b3" providerId="ADAL" clId="{8ABDC759-3668-454F-8005-F704478FE8B9}" dt="2022-03-14T18:13:23.129" v="60" actId="478"/>
          <ac:spMkLst>
            <pc:docMk/>
            <pc:sldMk cId="4182893140" sldId="2147470112"/>
            <ac:spMk id="12" creationId="{4BD40B7F-4EE8-4FF6-9E16-5CE3FA2E6C59}"/>
          </ac:spMkLst>
        </pc:spChg>
        <pc:spChg chg="del">
          <ac:chgData name="William Thayer (CELA)" userId="12080223-4edc-449d-b2d6-f01098d434b3" providerId="ADAL" clId="{8ABDC759-3668-454F-8005-F704478FE8B9}" dt="2022-03-14T18:13:23.129" v="60" actId="478"/>
          <ac:spMkLst>
            <pc:docMk/>
            <pc:sldMk cId="4182893140" sldId="2147470112"/>
            <ac:spMk id="24" creationId="{EECF114E-AEB2-483E-A583-9DDDD0CC3173}"/>
          </ac:spMkLst>
        </pc:spChg>
        <pc:spChg chg="del">
          <ac:chgData name="William Thayer (CELA)" userId="12080223-4edc-449d-b2d6-f01098d434b3" providerId="ADAL" clId="{8ABDC759-3668-454F-8005-F704478FE8B9}" dt="2022-03-14T18:13:23.129" v="60" actId="478"/>
          <ac:spMkLst>
            <pc:docMk/>
            <pc:sldMk cId="4182893140" sldId="2147470112"/>
            <ac:spMk id="40" creationId="{28FD4B59-FD79-4D71-BA39-67747CDC2658}"/>
          </ac:spMkLst>
        </pc:spChg>
        <pc:spChg chg="del">
          <ac:chgData name="William Thayer (CELA)" userId="12080223-4edc-449d-b2d6-f01098d434b3" providerId="ADAL" clId="{8ABDC759-3668-454F-8005-F704478FE8B9}" dt="2022-03-14T18:13:23.129" v="60" actId="478"/>
          <ac:spMkLst>
            <pc:docMk/>
            <pc:sldMk cId="4182893140" sldId="2147470112"/>
            <ac:spMk id="42" creationId="{6C5DCD75-4092-40AD-B4EE-CBBB064EBA81}"/>
          </ac:spMkLst>
        </pc:spChg>
        <pc:spChg chg="del">
          <ac:chgData name="William Thayer (CELA)" userId="12080223-4edc-449d-b2d6-f01098d434b3" providerId="ADAL" clId="{8ABDC759-3668-454F-8005-F704478FE8B9}" dt="2022-03-14T18:13:23.129" v="60" actId="478"/>
          <ac:spMkLst>
            <pc:docMk/>
            <pc:sldMk cId="4182893140" sldId="2147470112"/>
            <ac:spMk id="46" creationId="{F77B7171-0256-4470-908E-A438540AEFC9}"/>
          </ac:spMkLst>
        </pc:spChg>
        <pc:spChg chg="del">
          <ac:chgData name="William Thayer (CELA)" userId="12080223-4edc-449d-b2d6-f01098d434b3" providerId="ADAL" clId="{8ABDC759-3668-454F-8005-F704478FE8B9}" dt="2022-03-14T18:13:23.129" v="60" actId="478"/>
          <ac:spMkLst>
            <pc:docMk/>
            <pc:sldMk cId="4182893140" sldId="2147470112"/>
            <ac:spMk id="48" creationId="{624EBB1F-32B1-4176-983C-ED372E985558}"/>
          </ac:spMkLst>
        </pc:spChg>
        <pc:spChg chg="del">
          <ac:chgData name="William Thayer (CELA)" userId="12080223-4edc-449d-b2d6-f01098d434b3" providerId="ADAL" clId="{8ABDC759-3668-454F-8005-F704478FE8B9}" dt="2022-03-14T18:13:23.129" v="60" actId="478"/>
          <ac:spMkLst>
            <pc:docMk/>
            <pc:sldMk cId="4182893140" sldId="2147470112"/>
            <ac:spMk id="52" creationId="{8D09A310-E5A5-4027-A7DD-9D9C0148FBA3}"/>
          </ac:spMkLst>
        </pc:spChg>
        <pc:spChg chg="del">
          <ac:chgData name="William Thayer (CELA)" userId="12080223-4edc-449d-b2d6-f01098d434b3" providerId="ADAL" clId="{8ABDC759-3668-454F-8005-F704478FE8B9}" dt="2022-03-14T18:13:23.129" v="60" actId="478"/>
          <ac:spMkLst>
            <pc:docMk/>
            <pc:sldMk cId="4182893140" sldId="2147470112"/>
            <ac:spMk id="54" creationId="{73D6686B-4BED-4406-A2F9-05E05DDA7194}"/>
          </ac:spMkLst>
        </pc:spChg>
        <pc:spChg chg="del">
          <ac:chgData name="William Thayer (CELA)" userId="12080223-4edc-449d-b2d6-f01098d434b3" providerId="ADAL" clId="{8ABDC759-3668-454F-8005-F704478FE8B9}" dt="2022-03-14T18:13:23.129" v="60" actId="478"/>
          <ac:spMkLst>
            <pc:docMk/>
            <pc:sldMk cId="4182893140" sldId="2147470112"/>
            <ac:spMk id="58" creationId="{7F5A27E7-0C1C-4DED-A647-B2E903291B3A}"/>
          </ac:spMkLst>
        </pc:spChg>
        <pc:spChg chg="del">
          <ac:chgData name="William Thayer (CELA)" userId="12080223-4edc-449d-b2d6-f01098d434b3" providerId="ADAL" clId="{8ABDC759-3668-454F-8005-F704478FE8B9}" dt="2022-03-14T18:13:23.129" v="60" actId="478"/>
          <ac:spMkLst>
            <pc:docMk/>
            <pc:sldMk cId="4182893140" sldId="2147470112"/>
            <ac:spMk id="59" creationId="{4626920B-7FF6-4978-BFD0-946ABAF3AC5A}"/>
          </ac:spMkLst>
        </pc:spChg>
        <pc:picChg chg="add del mod">
          <ac:chgData name="William Thayer (CELA)" userId="12080223-4edc-449d-b2d6-f01098d434b3" providerId="ADAL" clId="{8ABDC759-3668-454F-8005-F704478FE8B9}" dt="2022-03-14T18:13:34.625" v="65" actId="22"/>
          <ac:picMkLst>
            <pc:docMk/>
            <pc:sldMk cId="4182893140" sldId="2147470112"/>
            <ac:picMk id="7" creationId="{2F92B0D9-052F-4EAD-9F42-1B96EDFAC297}"/>
          </ac:picMkLst>
        </pc:picChg>
      </pc:sldChg>
      <pc:sldChg chg="add">
        <pc:chgData name="William Thayer (CELA)" userId="12080223-4edc-449d-b2d6-f01098d434b3" providerId="ADAL" clId="{8ABDC759-3668-454F-8005-F704478FE8B9}" dt="2022-03-14T18:19:16.999" v="147" actId="2890"/>
        <pc:sldMkLst>
          <pc:docMk/>
          <pc:sldMk cId="3865878688" sldId="2147470113"/>
        </pc:sldMkLst>
      </pc:sldChg>
      <pc:sldChg chg="modSp add mod ord">
        <pc:chgData name="William Thayer (CELA)" userId="12080223-4edc-449d-b2d6-f01098d434b3" providerId="ADAL" clId="{8ABDC759-3668-454F-8005-F704478FE8B9}" dt="2022-03-14T18:46:40.978" v="502" actId="20577"/>
        <pc:sldMkLst>
          <pc:docMk/>
          <pc:sldMk cId="468985311" sldId="2147470114"/>
        </pc:sldMkLst>
        <pc:spChg chg="mod">
          <ac:chgData name="William Thayer (CELA)" userId="12080223-4edc-449d-b2d6-f01098d434b3" providerId="ADAL" clId="{8ABDC759-3668-454F-8005-F704478FE8B9}" dt="2022-03-14T18:46:40.978" v="502" actId="20577"/>
          <ac:spMkLst>
            <pc:docMk/>
            <pc:sldMk cId="468985311" sldId="2147470114"/>
            <ac:spMk id="4" creationId="{C3B050EC-A584-453E-8396-7FFCF79268AC}"/>
          </ac:spMkLst>
        </pc:spChg>
      </pc:sldChg>
      <pc:sldChg chg="addSp delSp modSp add del mod ord delAnim">
        <pc:chgData name="William Thayer (CELA)" userId="12080223-4edc-449d-b2d6-f01098d434b3" providerId="ADAL" clId="{8ABDC759-3668-454F-8005-F704478FE8B9}" dt="2022-03-14T18:46:03.866" v="484" actId="47"/>
        <pc:sldMkLst>
          <pc:docMk/>
          <pc:sldMk cId="2095996447" sldId="2147470114"/>
        </pc:sldMkLst>
        <pc:spChg chg="mod">
          <ac:chgData name="William Thayer (CELA)" userId="12080223-4edc-449d-b2d6-f01098d434b3" providerId="ADAL" clId="{8ABDC759-3668-454F-8005-F704478FE8B9}" dt="2022-03-14T18:28:17.440" v="383" actId="20577"/>
          <ac:spMkLst>
            <pc:docMk/>
            <pc:sldMk cId="2095996447" sldId="2147470114"/>
            <ac:spMk id="2" creationId="{47D46B29-EAA6-4063-8ACE-9921CC34D735}"/>
          </ac:spMkLst>
        </pc:spChg>
        <pc:spChg chg="del">
          <ac:chgData name="William Thayer (CELA)" userId="12080223-4edc-449d-b2d6-f01098d434b3" providerId="ADAL" clId="{8ABDC759-3668-454F-8005-F704478FE8B9}" dt="2022-03-14T18:28:09.984" v="366" actId="478"/>
          <ac:spMkLst>
            <pc:docMk/>
            <pc:sldMk cId="2095996447" sldId="2147470114"/>
            <ac:spMk id="4" creationId="{1BF568CE-BDAD-48B6-AC21-1E830394A9C3}"/>
          </ac:spMkLst>
        </pc:spChg>
        <pc:spChg chg="del">
          <ac:chgData name="William Thayer (CELA)" userId="12080223-4edc-449d-b2d6-f01098d434b3" providerId="ADAL" clId="{8ABDC759-3668-454F-8005-F704478FE8B9}" dt="2022-03-14T18:28:09.984" v="366" actId="478"/>
          <ac:spMkLst>
            <pc:docMk/>
            <pc:sldMk cId="2095996447" sldId="2147470114"/>
            <ac:spMk id="5" creationId="{571563F5-9F75-4A6C-A9EC-A0D4DD069C0B}"/>
          </ac:spMkLst>
        </pc:spChg>
        <pc:spChg chg="add del">
          <ac:chgData name="William Thayer (CELA)" userId="12080223-4edc-449d-b2d6-f01098d434b3" providerId="ADAL" clId="{8ABDC759-3668-454F-8005-F704478FE8B9}" dt="2022-03-14T18:31:02.134" v="386" actId="478"/>
          <ac:spMkLst>
            <pc:docMk/>
            <pc:sldMk cId="2095996447" sldId="2147470114"/>
            <ac:spMk id="100" creationId="{136FBFCD-56FF-4D62-9FC2-1F1BA42DA55D}"/>
          </ac:spMkLst>
        </pc:spChg>
        <pc:spChg chg="add mod">
          <ac:chgData name="William Thayer (CELA)" userId="12080223-4edc-449d-b2d6-f01098d434b3" providerId="ADAL" clId="{8ABDC759-3668-454F-8005-F704478FE8B9}" dt="2022-03-14T18:44:40.598" v="445" actId="1076"/>
          <ac:spMkLst>
            <pc:docMk/>
            <pc:sldMk cId="2095996447" sldId="2147470114"/>
            <ac:spMk id="104" creationId="{155A9C40-603A-40B3-8011-4043927AFC65}"/>
          </ac:spMkLst>
        </pc:spChg>
        <pc:spChg chg="add mod">
          <ac:chgData name="William Thayer (CELA)" userId="12080223-4edc-449d-b2d6-f01098d434b3" providerId="ADAL" clId="{8ABDC759-3668-454F-8005-F704478FE8B9}" dt="2022-03-14T18:44:40.598" v="445" actId="1076"/>
          <ac:spMkLst>
            <pc:docMk/>
            <pc:sldMk cId="2095996447" sldId="2147470114"/>
            <ac:spMk id="108" creationId="{358D2A0F-F1D7-499A-8DF4-7EFFEC3B23F8}"/>
          </ac:spMkLst>
        </pc:spChg>
        <pc:spChg chg="add mod">
          <ac:chgData name="William Thayer (CELA)" userId="12080223-4edc-449d-b2d6-f01098d434b3" providerId="ADAL" clId="{8ABDC759-3668-454F-8005-F704478FE8B9}" dt="2022-03-14T18:44:40.598" v="445" actId="1076"/>
          <ac:spMkLst>
            <pc:docMk/>
            <pc:sldMk cId="2095996447" sldId="2147470114"/>
            <ac:spMk id="110" creationId="{8DF2E089-30A8-4ABC-A2F2-CB58EB5A8386}"/>
          </ac:spMkLst>
        </pc:spChg>
        <pc:grpChg chg="del">
          <ac:chgData name="William Thayer (CELA)" userId="12080223-4edc-449d-b2d6-f01098d434b3" providerId="ADAL" clId="{8ABDC759-3668-454F-8005-F704478FE8B9}" dt="2022-03-14T18:28:12.128" v="367" actId="478"/>
          <ac:grpSpMkLst>
            <pc:docMk/>
            <pc:sldMk cId="2095996447" sldId="2147470114"/>
            <ac:grpSpMk id="6" creationId="{5E569163-ED70-401E-B09D-36D07BA77860}"/>
          </ac:grpSpMkLst>
        </pc:grpChg>
        <pc:picChg chg="add del mod">
          <ac:chgData name="William Thayer (CELA)" userId="12080223-4edc-449d-b2d6-f01098d434b3" providerId="ADAL" clId="{8ABDC759-3668-454F-8005-F704478FE8B9}" dt="2022-03-14T18:41:18.635" v="436" actId="478"/>
          <ac:picMkLst>
            <pc:docMk/>
            <pc:sldMk cId="2095996447" sldId="2147470114"/>
            <ac:picMk id="99" creationId="{4EEADC2A-3F45-4039-83F9-91F7C34B4E78}"/>
          </ac:picMkLst>
        </pc:picChg>
        <pc:picChg chg="add mod">
          <ac:chgData name="William Thayer (CELA)" userId="12080223-4edc-449d-b2d6-f01098d434b3" providerId="ADAL" clId="{8ABDC759-3668-454F-8005-F704478FE8B9}" dt="2022-03-14T18:44:40.598" v="445" actId="1076"/>
          <ac:picMkLst>
            <pc:docMk/>
            <pc:sldMk cId="2095996447" sldId="2147470114"/>
            <ac:picMk id="102" creationId="{ADEDB7D3-813E-4126-8DD1-B065F954E1D3}"/>
          </ac:picMkLst>
        </pc:picChg>
        <pc:picChg chg="add mod">
          <ac:chgData name="William Thayer (CELA)" userId="12080223-4edc-449d-b2d6-f01098d434b3" providerId="ADAL" clId="{8ABDC759-3668-454F-8005-F704478FE8B9}" dt="2022-03-14T18:44:40.598" v="445" actId="1076"/>
          <ac:picMkLst>
            <pc:docMk/>
            <pc:sldMk cId="2095996447" sldId="2147470114"/>
            <ac:picMk id="106" creationId="{0F5C8AE0-D2AA-4B90-8A2D-994C48ACC8AF}"/>
          </ac:picMkLst>
        </pc:picChg>
        <pc:picChg chg="add mod">
          <ac:chgData name="William Thayer (CELA)" userId="12080223-4edc-449d-b2d6-f01098d434b3" providerId="ADAL" clId="{8ABDC759-3668-454F-8005-F704478FE8B9}" dt="2022-03-14T18:44:40.598" v="445" actId="1076"/>
          <ac:picMkLst>
            <pc:docMk/>
            <pc:sldMk cId="2095996447" sldId="2147470114"/>
            <ac:picMk id="112" creationId="{8BBA314D-6A9D-423A-9A08-963A687E1038}"/>
          </ac:picMkLst>
        </pc:picChg>
      </pc:sldChg>
      <pc:sldChg chg="addSp modSp add mod ord">
        <pc:chgData name="William Thayer (CELA)" userId="12080223-4edc-449d-b2d6-f01098d434b3" providerId="ADAL" clId="{8ABDC759-3668-454F-8005-F704478FE8B9}" dt="2022-03-15T01:36:14.342" v="2482" actId="962"/>
        <pc:sldMkLst>
          <pc:docMk/>
          <pc:sldMk cId="166569166" sldId="2147470115"/>
        </pc:sldMkLst>
        <pc:spChg chg="add">
          <ac:chgData name="William Thayer (CELA)" userId="12080223-4edc-449d-b2d6-f01098d434b3" providerId="ADAL" clId="{8ABDC759-3668-454F-8005-F704478FE8B9}" dt="2022-03-15T01:22:24.389" v="2090" actId="22"/>
          <ac:spMkLst>
            <pc:docMk/>
            <pc:sldMk cId="166569166" sldId="2147470115"/>
            <ac:spMk id="2" creationId="{A4790A60-783C-4617-89D3-F2101FF3AD6E}"/>
          </ac:spMkLst>
        </pc:spChg>
        <pc:spChg chg="add mod">
          <ac:chgData name="William Thayer (CELA)" userId="12080223-4edc-449d-b2d6-f01098d434b3" providerId="ADAL" clId="{8ABDC759-3668-454F-8005-F704478FE8B9}" dt="2022-03-15T01:22:28.207" v="2092" actId="20577"/>
          <ac:spMkLst>
            <pc:docMk/>
            <pc:sldMk cId="166569166" sldId="2147470115"/>
            <ac:spMk id="4" creationId="{D1C7FA3C-1A68-4CCC-8818-3BD0B35A7D30}"/>
          </ac:spMkLst>
        </pc:spChg>
        <pc:spChg chg="mod">
          <ac:chgData name="William Thayer (CELA)" userId="12080223-4edc-449d-b2d6-f01098d434b3" providerId="ADAL" clId="{8ABDC759-3668-454F-8005-F704478FE8B9}" dt="2022-03-15T01:29:49.685" v="2167" actId="1076"/>
          <ac:spMkLst>
            <pc:docMk/>
            <pc:sldMk cId="166569166" sldId="2147470115"/>
            <ac:spMk id="8" creationId="{C96EEFB4-E43E-42B6-BC60-10ECD60C7B40}"/>
          </ac:spMkLst>
        </pc:spChg>
        <pc:picChg chg="add mod modCrop">
          <ac:chgData name="William Thayer (CELA)" userId="12080223-4edc-449d-b2d6-f01098d434b3" providerId="ADAL" clId="{8ABDC759-3668-454F-8005-F704478FE8B9}" dt="2022-03-15T01:36:14.342" v="2482" actId="962"/>
          <ac:picMkLst>
            <pc:docMk/>
            <pc:sldMk cId="166569166" sldId="2147470115"/>
            <ac:picMk id="7" creationId="{CB3FB155-BD71-45A5-BD5E-44986140C2A9}"/>
          </ac:picMkLst>
        </pc:picChg>
      </pc:sldChg>
      <pc:sldChg chg="addSp delSp modSp add mod modNotesTx">
        <pc:chgData name="William Thayer (CELA)" userId="12080223-4edc-449d-b2d6-f01098d434b3" providerId="ADAL" clId="{8ABDC759-3668-454F-8005-F704478FE8B9}" dt="2022-03-15T14:55:54.874" v="2522" actId="20577"/>
        <pc:sldMkLst>
          <pc:docMk/>
          <pc:sldMk cId="1797130486" sldId="2147470116"/>
        </pc:sldMkLst>
        <pc:spChg chg="del mod">
          <ac:chgData name="William Thayer (CELA)" userId="12080223-4edc-449d-b2d6-f01098d434b3" providerId="ADAL" clId="{8ABDC759-3668-454F-8005-F704478FE8B9}" dt="2022-03-14T22:16:07.074" v="1291" actId="478"/>
          <ac:spMkLst>
            <pc:docMk/>
            <pc:sldMk cId="1797130486" sldId="2147470116"/>
            <ac:spMk id="2" creationId="{99D994E9-5843-475E-BA88-5AD655C8BD1D}"/>
          </ac:spMkLst>
        </pc:spChg>
        <pc:spChg chg="add mod">
          <ac:chgData name="William Thayer (CELA)" userId="12080223-4edc-449d-b2d6-f01098d434b3" providerId="ADAL" clId="{8ABDC759-3668-454F-8005-F704478FE8B9}" dt="2022-03-14T22:16:51.841" v="1378" actId="962"/>
          <ac:spMkLst>
            <pc:docMk/>
            <pc:sldMk cId="1797130486" sldId="2147470116"/>
            <ac:spMk id="5" creationId="{908F73B8-23A5-4BC7-9219-2C327AA39A11}"/>
          </ac:spMkLst>
        </pc:spChg>
        <pc:spChg chg="add mod">
          <ac:chgData name="William Thayer (CELA)" userId="12080223-4edc-449d-b2d6-f01098d434b3" providerId="ADAL" clId="{8ABDC759-3668-454F-8005-F704478FE8B9}" dt="2022-03-14T22:16:09.472" v="1294" actId="20577"/>
          <ac:spMkLst>
            <pc:docMk/>
            <pc:sldMk cId="1797130486" sldId="2147470116"/>
            <ac:spMk id="7" creationId="{6F3FF2BF-1788-452E-9A47-A0F4D683E88C}"/>
          </ac:spMkLst>
        </pc:spChg>
        <pc:spChg chg="mod">
          <ac:chgData name="William Thayer (CELA)" userId="12080223-4edc-449d-b2d6-f01098d434b3" providerId="ADAL" clId="{8ABDC759-3668-454F-8005-F704478FE8B9}" dt="2022-03-15T14:55:54.874" v="2522" actId="20577"/>
          <ac:spMkLst>
            <pc:docMk/>
            <pc:sldMk cId="1797130486" sldId="2147470116"/>
            <ac:spMk id="8" creationId="{C96EEFB4-E43E-42B6-BC60-10ECD60C7B40}"/>
          </ac:spMkLst>
        </pc:spChg>
        <pc:picChg chg="add del mod">
          <ac:chgData name="William Thayer (CELA)" userId="12080223-4edc-449d-b2d6-f01098d434b3" providerId="ADAL" clId="{8ABDC759-3668-454F-8005-F704478FE8B9}" dt="2022-03-14T18:53:44.831" v="772" actId="478"/>
          <ac:picMkLst>
            <pc:docMk/>
            <pc:sldMk cId="1797130486" sldId="2147470116"/>
            <ac:picMk id="3" creationId="{7E465AE8-9BE5-4076-B9BF-D1D80423D700}"/>
          </ac:picMkLst>
        </pc:picChg>
        <pc:picChg chg="add mod ord">
          <ac:chgData name="William Thayer (CELA)" userId="12080223-4edc-449d-b2d6-f01098d434b3" providerId="ADAL" clId="{8ABDC759-3668-454F-8005-F704478FE8B9}" dt="2022-03-14T22:19:49.884" v="1897"/>
          <ac:picMkLst>
            <pc:docMk/>
            <pc:sldMk cId="1797130486" sldId="2147470116"/>
            <ac:picMk id="4" creationId="{FC34CC27-F1C7-4074-B65C-55F48E98366A}"/>
          </ac:picMkLst>
        </pc:picChg>
      </pc:sldChg>
      <pc:sldChg chg="addSp delSp modSp add mod">
        <pc:chgData name="William Thayer (CELA)" userId="12080223-4edc-449d-b2d6-f01098d434b3" providerId="ADAL" clId="{8ABDC759-3668-454F-8005-F704478FE8B9}" dt="2022-03-14T22:19:56.655" v="1898"/>
        <pc:sldMkLst>
          <pc:docMk/>
          <pc:sldMk cId="4201817669" sldId="2147470117"/>
        </pc:sldMkLst>
        <pc:spChg chg="mod">
          <ac:chgData name="William Thayer (CELA)" userId="12080223-4edc-449d-b2d6-f01098d434b3" providerId="ADAL" clId="{8ABDC759-3668-454F-8005-F704478FE8B9}" dt="2022-03-14T22:16:53.918" v="1379" actId="962"/>
          <ac:spMkLst>
            <pc:docMk/>
            <pc:sldMk cId="4201817669" sldId="2147470117"/>
            <ac:spMk id="2" creationId="{99D994E9-5843-475E-BA88-5AD655C8BD1D}"/>
          </ac:spMkLst>
        </pc:spChg>
        <pc:spChg chg="add mod">
          <ac:chgData name="William Thayer (CELA)" userId="12080223-4edc-449d-b2d6-f01098d434b3" providerId="ADAL" clId="{8ABDC759-3668-454F-8005-F704478FE8B9}" dt="2022-03-14T22:15:53.883" v="1286" actId="1076"/>
          <ac:spMkLst>
            <pc:docMk/>
            <pc:sldMk cId="4201817669" sldId="2147470117"/>
            <ac:spMk id="7" creationId="{7FB7EE5F-D5ED-4D9E-B761-35F47C4ACD9D}"/>
          </ac:spMkLst>
        </pc:spChg>
        <pc:spChg chg="mod">
          <ac:chgData name="William Thayer (CELA)" userId="12080223-4edc-449d-b2d6-f01098d434b3" providerId="ADAL" clId="{8ABDC759-3668-454F-8005-F704478FE8B9}" dt="2022-03-14T22:12:04.389" v="1236" actId="1076"/>
          <ac:spMkLst>
            <pc:docMk/>
            <pc:sldMk cId="4201817669" sldId="2147470117"/>
            <ac:spMk id="8" creationId="{C96EEFB4-E43E-42B6-BC60-10ECD60C7B40}"/>
          </ac:spMkLst>
        </pc:spChg>
        <pc:picChg chg="add del mod">
          <ac:chgData name="William Thayer (CELA)" userId="12080223-4edc-449d-b2d6-f01098d434b3" providerId="ADAL" clId="{8ABDC759-3668-454F-8005-F704478FE8B9}" dt="2022-03-14T22:10:48.066" v="1225" actId="478"/>
          <ac:picMkLst>
            <pc:docMk/>
            <pc:sldMk cId="4201817669" sldId="2147470117"/>
            <ac:picMk id="4" creationId="{02666D87-DF19-4731-9A8A-7FAE7AD5EBB2}"/>
          </ac:picMkLst>
        </pc:picChg>
        <pc:picChg chg="add mod ord modCrop">
          <ac:chgData name="William Thayer (CELA)" userId="12080223-4edc-449d-b2d6-f01098d434b3" providerId="ADAL" clId="{8ABDC759-3668-454F-8005-F704478FE8B9}" dt="2022-03-14T22:19:56.655" v="1898"/>
          <ac:picMkLst>
            <pc:docMk/>
            <pc:sldMk cId="4201817669" sldId="2147470117"/>
            <ac:picMk id="6" creationId="{EDE4ADE7-7778-4977-BF57-422E4564EBA3}"/>
          </ac:picMkLst>
        </pc:picChg>
      </pc:sldChg>
      <pc:sldChg chg="addSp delSp modSp add mod">
        <pc:chgData name="William Thayer (CELA)" userId="12080223-4edc-449d-b2d6-f01098d434b3" providerId="ADAL" clId="{8ABDC759-3668-454F-8005-F704478FE8B9}" dt="2022-03-14T22:20:05.772" v="1900"/>
        <pc:sldMkLst>
          <pc:docMk/>
          <pc:sldMk cId="1216018671" sldId="2147470118"/>
        </pc:sldMkLst>
        <pc:spChg chg="del mod">
          <ac:chgData name="William Thayer (CELA)" userId="12080223-4edc-449d-b2d6-f01098d434b3" providerId="ADAL" clId="{8ABDC759-3668-454F-8005-F704478FE8B9}" dt="2022-03-14T22:16:13.881" v="1295" actId="478"/>
          <ac:spMkLst>
            <pc:docMk/>
            <pc:sldMk cId="1216018671" sldId="2147470118"/>
            <ac:spMk id="2" creationId="{99D994E9-5843-475E-BA88-5AD655C8BD1D}"/>
          </ac:spMkLst>
        </pc:spChg>
        <pc:spChg chg="add mod">
          <ac:chgData name="William Thayer (CELA)" userId="12080223-4edc-449d-b2d6-f01098d434b3" providerId="ADAL" clId="{8ABDC759-3668-454F-8005-F704478FE8B9}" dt="2022-03-14T22:16:55.929" v="1380" actId="962"/>
          <ac:spMkLst>
            <pc:docMk/>
            <pc:sldMk cId="1216018671" sldId="2147470118"/>
            <ac:spMk id="5" creationId="{DE41534F-1B28-4C81-8501-AF6EB063D73B}"/>
          </ac:spMkLst>
        </pc:spChg>
        <pc:spChg chg="add mod">
          <ac:chgData name="William Thayer (CELA)" userId="12080223-4edc-449d-b2d6-f01098d434b3" providerId="ADAL" clId="{8ABDC759-3668-454F-8005-F704478FE8B9}" dt="2022-03-14T22:16:17.146" v="1298" actId="20577"/>
          <ac:spMkLst>
            <pc:docMk/>
            <pc:sldMk cId="1216018671" sldId="2147470118"/>
            <ac:spMk id="7" creationId="{B5CAC4A3-7018-4242-A1C7-DD0020149658}"/>
          </ac:spMkLst>
        </pc:spChg>
        <pc:spChg chg="mod">
          <ac:chgData name="William Thayer (CELA)" userId="12080223-4edc-449d-b2d6-f01098d434b3" providerId="ADAL" clId="{8ABDC759-3668-454F-8005-F704478FE8B9}" dt="2022-03-14T22:13:22.338" v="1244" actId="1076"/>
          <ac:spMkLst>
            <pc:docMk/>
            <pc:sldMk cId="1216018671" sldId="2147470118"/>
            <ac:spMk id="8" creationId="{C96EEFB4-E43E-42B6-BC60-10ECD60C7B40}"/>
          </ac:spMkLst>
        </pc:spChg>
        <pc:picChg chg="add mod ord">
          <ac:chgData name="William Thayer (CELA)" userId="12080223-4edc-449d-b2d6-f01098d434b3" providerId="ADAL" clId="{8ABDC759-3668-454F-8005-F704478FE8B9}" dt="2022-03-14T22:20:05.772" v="1900"/>
          <ac:picMkLst>
            <pc:docMk/>
            <pc:sldMk cId="1216018671" sldId="2147470118"/>
            <ac:picMk id="4" creationId="{C1FABF70-DE6D-41D4-BCC2-D71AAF820871}"/>
          </ac:picMkLst>
        </pc:picChg>
      </pc:sldChg>
      <pc:sldChg chg="modSp new del mod">
        <pc:chgData name="William Thayer (CELA)" userId="12080223-4edc-449d-b2d6-f01098d434b3" providerId="ADAL" clId="{8ABDC759-3668-454F-8005-F704478FE8B9}" dt="2022-03-14T21:59:45.813" v="1135" actId="47"/>
        <pc:sldMkLst>
          <pc:docMk/>
          <pc:sldMk cId="1652062766" sldId="2147470119"/>
        </pc:sldMkLst>
        <pc:spChg chg="mod">
          <ac:chgData name="William Thayer (CELA)" userId="12080223-4edc-449d-b2d6-f01098d434b3" providerId="ADAL" clId="{8ABDC759-3668-454F-8005-F704478FE8B9}" dt="2022-03-14T19:01:46.073" v="820" actId="20577"/>
          <ac:spMkLst>
            <pc:docMk/>
            <pc:sldMk cId="1652062766" sldId="2147470119"/>
            <ac:spMk id="2" creationId="{32798C91-ABDD-400B-9F5B-4615720ED854}"/>
          </ac:spMkLst>
        </pc:spChg>
      </pc:sldChg>
      <pc:sldChg chg="addSp delSp modSp add del mod">
        <pc:chgData name="William Thayer (CELA)" userId="12080223-4edc-449d-b2d6-f01098d434b3" providerId="ADAL" clId="{8ABDC759-3668-454F-8005-F704478FE8B9}" dt="2022-03-14T18:57:04.721" v="788" actId="47"/>
        <pc:sldMkLst>
          <pc:docMk/>
          <pc:sldMk cId="1857798250" sldId="2147470119"/>
        </pc:sldMkLst>
        <pc:spChg chg="del">
          <ac:chgData name="William Thayer (CELA)" userId="12080223-4edc-449d-b2d6-f01098d434b3" providerId="ADAL" clId="{8ABDC759-3668-454F-8005-F704478FE8B9}" dt="2022-03-14T18:56:42.105" v="784" actId="478"/>
          <ac:spMkLst>
            <pc:docMk/>
            <pc:sldMk cId="1857798250" sldId="2147470119"/>
            <ac:spMk id="2" creationId="{1A2B270E-4A69-4C2F-BCDE-2CDE572612CA}"/>
          </ac:spMkLst>
        </pc:spChg>
        <pc:spChg chg="del">
          <ac:chgData name="William Thayer (CELA)" userId="12080223-4edc-449d-b2d6-f01098d434b3" providerId="ADAL" clId="{8ABDC759-3668-454F-8005-F704478FE8B9}" dt="2022-03-14T18:56:42.105" v="784" actId="478"/>
          <ac:spMkLst>
            <pc:docMk/>
            <pc:sldMk cId="1857798250" sldId="2147470119"/>
            <ac:spMk id="4" creationId="{F34D17F0-9CF9-4EB8-B16D-94FFE5F0CBDF}"/>
          </ac:spMkLst>
        </pc:spChg>
        <pc:spChg chg="add mod">
          <ac:chgData name="William Thayer (CELA)" userId="12080223-4edc-449d-b2d6-f01098d434b3" providerId="ADAL" clId="{8ABDC759-3668-454F-8005-F704478FE8B9}" dt="2022-03-14T18:56:42.105" v="784" actId="478"/>
          <ac:spMkLst>
            <pc:docMk/>
            <pc:sldMk cId="1857798250" sldId="2147470119"/>
            <ac:spMk id="5" creationId="{B6531CBB-ABAA-4E00-A682-30D697AC20DB}"/>
          </ac:spMkLst>
        </pc:spChg>
        <pc:spChg chg="del">
          <ac:chgData name="William Thayer (CELA)" userId="12080223-4edc-449d-b2d6-f01098d434b3" providerId="ADAL" clId="{8ABDC759-3668-454F-8005-F704478FE8B9}" dt="2022-03-14T18:56:42.105" v="784" actId="478"/>
          <ac:spMkLst>
            <pc:docMk/>
            <pc:sldMk cId="1857798250" sldId="2147470119"/>
            <ac:spMk id="6" creationId="{C69FC64F-81DE-42BF-AFC0-E967520E29F8}"/>
          </ac:spMkLst>
        </pc:spChg>
        <pc:spChg chg="add">
          <ac:chgData name="William Thayer (CELA)" userId="12080223-4edc-449d-b2d6-f01098d434b3" providerId="ADAL" clId="{8ABDC759-3668-454F-8005-F704478FE8B9}" dt="2022-03-14T18:56:51.939" v="787" actId="22"/>
          <ac:spMkLst>
            <pc:docMk/>
            <pc:sldMk cId="1857798250" sldId="2147470119"/>
            <ac:spMk id="7" creationId="{5F7D93EC-43F8-4AA3-8551-FCBFDC8D92A1}"/>
          </ac:spMkLst>
        </pc:spChg>
        <pc:spChg chg="del">
          <ac:chgData name="William Thayer (CELA)" userId="12080223-4edc-449d-b2d6-f01098d434b3" providerId="ADAL" clId="{8ABDC759-3668-454F-8005-F704478FE8B9}" dt="2022-03-14T18:56:42.105" v="784" actId="478"/>
          <ac:spMkLst>
            <pc:docMk/>
            <pc:sldMk cId="1857798250" sldId="2147470119"/>
            <ac:spMk id="9" creationId="{A3BF6E52-FB3A-4C43-B972-FF63CDB6E6F7}"/>
          </ac:spMkLst>
        </pc:spChg>
        <pc:spChg chg="add">
          <ac:chgData name="William Thayer (CELA)" userId="12080223-4edc-449d-b2d6-f01098d434b3" providerId="ADAL" clId="{8ABDC759-3668-454F-8005-F704478FE8B9}" dt="2022-03-14T18:56:51.939" v="787" actId="22"/>
          <ac:spMkLst>
            <pc:docMk/>
            <pc:sldMk cId="1857798250" sldId="2147470119"/>
            <ac:spMk id="10" creationId="{C308063E-6CCA-4185-8FA5-A2B54627006C}"/>
          </ac:spMkLst>
        </pc:spChg>
        <pc:spChg chg="del">
          <ac:chgData name="William Thayer (CELA)" userId="12080223-4edc-449d-b2d6-f01098d434b3" providerId="ADAL" clId="{8ABDC759-3668-454F-8005-F704478FE8B9}" dt="2022-03-14T18:56:42.105" v="784" actId="478"/>
          <ac:spMkLst>
            <pc:docMk/>
            <pc:sldMk cId="1857798250" sldId="2147470119"/>
            <ac:spMk id="11" creationId="{E85B78BD-3046-46FD-8FE7-491557696CAE}"/>
          </ac:spMkLst>
        </pc:spChg>
        <pc:spChg chg="del">
          <ac:chgData name="William Thayer (CELA)" userId="12080223-4edc-449d-b2d6-f01098d434b3" providerId="ADAL" clId="{8ABDC759-3668-454F-8005-F704478FE8B9}" dt="2022-03-14T18:56:42.105" v="784" actId="478"/>
          <ac:spMkLst>
            <pc:docMk/>
            <pc:sldMk cId="1857798250" sldId="2147470119"/>
            <ac:spMk id="12" creationId="{4BD40B7F-4EE8-4FF6-9E16-5CE3FA2E6C59}"/>
          </ac:spMkLst>
        </pc:spChg>
        <pc:spChg chg="del">
          <ac:chgData name="William Thayer (CELA)" userId="12080223-4edc-449d-b2d6-f01098d434b3" providerId="ADAL" clId="{8ABDC759-3668-454F-8005-F704478FE8B9}" dt="2022-03-14T18:56:42.105" v="784" actId="478"/>
          <ac:spMkLst>
            <pc:docMk/>
            <pc:sldMk cId="1857798250" sldId="2147470119"/>
            <ac:spMk id="24" creationId="{EECF114E-AEB2-483E-A583-9DDDD0CC3173}"/>
          </ac:spMkLst>
        </pc:spChg>
        <pc:spChg chg="del">
          <ac:chgData name="William Thayer (CELA)" userId="12080223-4edc-449d-b2d6-f01098d434b3" providerId="ADAL" clId="{8ABDC759-3668-454F-8005-F704478FE8B9}" dt="2022-03-14T18:56:42.105" v="784" actId="478"/>
          <ac:spMkLst>
            <pc:docMk/>
            <pc:sldMk cId="1857798250" sldId="2147470119"/>
            <ac:spMk id="40" creationId="{28FD4B59-FD79-4D71-BA39-67747CDC2658}"/>
          </ac:spMkLst>
        </pc:spChg>
        <pc:spChg chg="del">
          <ac:chgData name="William Thayer (CELA)" userId="12080223-4edc-449d-b2d6-f01098d434b3" providerId="ADAL" clId="{8ABDC759-3668-454F-8005-F704478FE8B9}" dt="2022-03-14T18:56:42.105" v="784" actId="478"/>
          <ac:spMkLst>
            <pc:docMk/>
            <pc:sldMk cId="1857798250" sldId="2147470119"/>
            <ac:spMk id="42" creationId="{6C5DCD75-4092-40AD-B4EE-CBBB064EBA81}"/>
          </ac:spMkLst>
        </pc:spChg>
        <pc:spChg chg="del">
          <ac:chgData name="William Thayer (CELA)" userId="12080223-4edc-449d-b2d6-f01098d434b3" providerId="ADAL" clId="{8ABDC759-3668-454F-8005-F704478FE8B9}" dt="2022-03-14T18:56:42.105" v="784" actId="478"/>
          <ac:spMkLst>
            <pc:docMk/>
            <pc:sldMk cId="1857798250" sldId="2147470119"/>
            <ac:spMk id="46" creationId="{F77B7171-0256-4470-908E-A438540AEFC9}"/>
          </ac:spMkLst>
        </pc:spChg>
        <pc:spChg chg="del">
          <ac:chgData name="William Thayer (CELA)" userId="12080223-4edc-449d-b2d6-f01098d434b3" providerId="ADAL" clId="{8ABDC759-3668-454F-8005-F704478FE8B9}" dt="2022-03-14T18:56:42.105" v="784" actId="478"/>
          <ac:spMkLst>
            <pc:docMk/>
            <pc:sldMk cId="1857798250" sldId="2147470119"/>
            <ac:spMk id="48" creationId="{624EBB1F-32B1-4176-983C-ED372E985558}"/>
          </ac:spMkLst>
        </pc:spChg>
        <pc:spChg chg="del">
          <ac:chgData name="William Thayer (CELA)" userId="12080223-4edc-449d-b2d6-f01098d434b3" providerId="ADAL" clId="{8ABDC759-3668-454F-8005-F704478FE8B9}" dt="2022-03-14T18:56:42.105" v="784" actId="478"/>
          <ac:spMkLst>
            <pc:docMk/>
            <pc:sldMk cId="1857798250" sldId="2147470119"/>
            <ac:spMk id="52" creationId="{8D09A310-E5A5-4027-A7DD-9D9C0148FBA3}"/>
          </ac:spMkLst>
        </pc:spChg>
        <pc:spChg chg="del">
          <ac:chgData name="William Thayer (CELA)" userId="12080223-4edc-449d-b2d6-f01098d434b3" providerId="ADAL" clId="{8ABDC759-3668-454F-8005-F704478FE8B9}" dt="2022-03-14T18:56:42.105" v="784" actId="478"/>
          <ac:spMkLst>
            <pc:docMk/>
            <pc:sldMk cId="1857798250" sldId="2147470119"/>
            <ac:spMk id="54" creationId="{73D6686B-4BED-4406-A2F9-05E05DDA7194}"/>
          </ac:spMkLst>
        </pc:spChg>
        <pc:spChg chg="del">
          <ac:chgData name="William Thayer (CELA)" userId="12080223-4edc-449d-b2d6-f01098d434b3" providerId="ADAL" clId="{8ABDC759-3668-454F-8005-F704478FE8B9}" dt="2022-03-14T18:56:42.105" v="784" actId="478"/>
          <ac:spMkLst>
            <pc:docMk/>
            <pc:sldMk cId="1857798250" sldId="2147470119"/>
            <ac:spMk id="58" creationId="{7F5A27E7-0C1C-4DED-A647-B2E903291B3A}"/>
          </ac:spMkLst>
        </pc:spChg>
        <pc:spChg chg="del">
          <ac:chgData name="William Thayer (CELA)" userId="12080223-4edc-449d-b2d6-f01098d434b3" providerId="ADAL" clId="{8ABDC759-3668-454F-8005-F704478FE8B9}" dt="2022-03-14T18:56:42.105" v="784" actId="478"/>
          <ac:spMkLst>
            <pc:docMk/>
            <pc:sldMk cId="1857798250" sldId="2147470119"/>
            <ac:spMk id="59" creationId="{4626920B-7FF6-4978-BFD0-946ABAF3AC5A}"/>
          </ac:spMkLst>
        </pc:spChg>
        <pc:picChg chg="add">
          <ac:chgData name="William Thayer (CELA)" userId="12080223-4edc-449d-b2d6-f01098d434b3" providerId="ADAL" clId="{8ABDC759-3668-454F-8005-F704478FE8B9}" dt="2022-03-14T18:56:51.939" v="787" actId="22"/>
          <ac:picMkLst>
            <pc:docMk/>
            <pc:sldMk cId="1857798250" sldId="2147470119"/>
            <ac:picMk id="8" creationId="{A39517DC-E119-4B63-8363-77D548F6E547}"/>
          </ac:picMkLst>
        </pc:picChg>
      </pc:sldChg>
      <pc:sldChg chg="add del">
        <pc:chgData name="William Thayer (CELA)" userId="12080223-4edc-449d-b2d6-f01098d434b3" providerId="ADAL" clId="{8ABDC759-3668-454F-8005-F704478FE8B9}" dt="2022-03-14T21:59:29.798" v="1132" actId="47"/>
        <pc:sldMkLst>
          <pc:docMk/>
          <pc:sldMk cId="1800385761" sldId="2147470120"/>
        </pc:sldMkLst>
      </pc:sldChg>
      <pc:sldChg chg="addSp delSp modSp add mod">
        <pc:chgData name="William Thayer (CELA)" userId="12080223-4edc-449d-b2d6-f01098d434b3" providerId="ADAL" clId="{8ABDC759-3668-454F-8005-F704478FE8B9}" dt="2022-03-14T22:18:49.793" v="1873"/>
        <pc:sldMkLst>
          <pc:docMk/>
          <pc:sldMk cId="1444918362" sldId="2147470121"/>
        </pc:sldMkLst>
        <pc:spChg chg="del">
          <ac:chgData name="William Thayer (CELA)" userId="12080223-4edc-449d-b2d6-f01098d434b3" providerId="ADAL" clId="{8ABDC759-3668-454F-8005-F704478FE8B9}" dt="2022-03-14T21:44:33.752" v="904" actId="478"/>
          <ac:spMkLst>
            <pc:docMk/>
            <pc:sldMk cId="1444918362" sldId="2147470121"/>
            <ac:spMk id="2" creationId="{1A2B270E-4A69-4C2F-BCDE-2CDE572612CA}"/>
          </ac:spMkLst>
        </pc:spChg>
        <pc:spChg chg="del">
          <ac:chgData name="William Thayer (CELA)" userId="12080223-4edc-449d-b2d6-f01098d434b3" providerId="ADAL" clId="{8ABDC759-3668-454F-8005-F704478FE8B9}" dt="2022-03-14T21:44:33.752" v="904" actId="478"/>
          <ac:spMkLst>
            <pc:docMk/>
            <pc:sldMk cId="1444918362" sldId="2147470121"/>
            <ac:spMk id="4" creationId="{F34D17F0-9CF9-4EB8-B16D-94FFE5F0CBDF}"/>
          </ac:spMkLst>
        </pc:spChg>
        <pc:spChg chg="add del">
          <ac:chgData name="William Thayer (CELA)" userId="12080223-4edc-449d-b2d6-f01098d434b3" providerId="ADAL" clId="{8ABDC759-3668-454F-8005-F704478FE8B9}" dt="2022-03-14T21:45:36.741" v="952" actId="22"/>
          <ac:spMkLst>
            <pc:docMk/>
            <pc:sldMk cId="1444918362" sldId="2147470121"/>
            <ac:spMk id="5" creationId="{8156DD60-870D-4927-9403-2296AD805DB5}"/>
          </ac:spMkLst>
        </pc:spChg>
        <pc:spChg chg="mod">
          <ac:chgData name="William Thayer (CELA)" userId="12080223-4edc-449d-b2d6-f01098d434b3" providerId="ADAL" clId="{8ABDC759-3668-454F-8005-F704478FE8B9}" dt="2022-03-14T21:45:23.935" v="943" actId="313"/>
          <ac:spMkLst>
            <pc:docMk/>
            <pc:sldMk cId="1444918362" sldId="2147470121"/>
            <ac:spMk id="6" creationId="{C69FC64F-81DE-42BF-AFC0-E967520E29F8}"/>
          </ac:spMkLst>
        </pc:spChg>
        <pc:spChg chg="add del">
          <ac:chgData name="William Thayer (CELA)" userId="12080223-4edc-449d-b2d6-f01098d434b3" providerId="ADAL" clId="{8ABDC759-3668-454F-8005-F704478FE8B9}" dt="2022-03-14T21:45:36.741" v="952" actId="22"/>
          <ac:spMkLst>
            <pc:docMk/>
            <pc:sldMk cId="1444918362" sldId="2147470121"/>
            <ac:spMk id="7" creationId="{0C42B648-DA86-423F-A732-9223F11DB5D4}"/>
          </ac:spMkLst>
        </pc:spChg>
        <pc:spChg chg="add mod ord">
          <ac:chgData name="William Thayer (CELA)" userId="12080223-4edc-449d-b2d6-f01098d434b3" providerId="ADAL" clId="{8ABDC759-3668-454F-8005-F704478FE8B9}" dt="2022-03-14T22:18:33.430" v="1872"/>
          <ac:spMkLst>
            <pc:docMk/>
            <pc:sldMk cId="1444918362" sldId="2147470121"/>
            <ac:spMk id="8" creationId="{040C86A4-A5DC-46E9-B7BA-53847FF8C336}"/>
          </ac:spMkLst>
        </pc:spChg>
        <pc:spChg chg="del">
          <ac:chgData name="William Thayer (CELA)" userId="12080223-4edc-449d-b2d6-f01098d434b3" providerId="ADAL" clId="{8ABDC759-3668-454F-8005-F704478FE8B9}" dt="2022-03-14T21:44:33.752" v="904" actId="478"/>
          <ac:spMkLst>
            <pc:docMk/>
            <pc:sldMk cId="1444918362" sldId="2147470121"/>
            <ac:spMk id="9" creationId="{A3BF6E52-FB3A-4C43-B972-FF63CDB6E6F7}"/>
          </ac:spMkLst>
        </pc:spChg>
        <pc:spChg chg="add mod">
          <ac:chgData name="William Thayer (CELA)" userId="12080223-4edc-449d-b2d6-f01098d434b3" providerId="ADAL" clId="{8ABDC759-3668-454F-8005-F704478FE8B9}" dt="2022-03-14T21:48:37.603" v="1008" actId="20577"/>
          <ac:spMkLst>
            <pc:docMk/>
            <pc:sldMk cId="1444918362" sldId="2147470121"/>
            <ac:spMk id="10" creationId="{E051D916-D43A-4B5B-9047-5DD16F6249AD}"/>
          </ac:spMkLst>
        </pc:spChg>
        <pc:spChg chg="del">
          <ac:chgData name="William Thayer (CELA)" userId="12080223-4edc-449d-b2d6-f01098d434b3" providerId="ADAL" clId="{8ABDC759-3668-454F-8005-F704478FE8B9}" dt="2022-03-14T21:44:33.752" v="904" actId="478"/>
          <ac:spMkLst>
            <pc:docMk/>
            <pc:sldMk cId="1444918362" sldId="2147470121"/>
            <ac:spMk id="11" creationId="{E85B78BD-3046-46FD-8FE7-491557696CAE}"/>
          </ac:spMkLst>
        </pc:spChg>
        <pc:spChg chg="mod">
          <ac:chgData name="William Thayer (CELA)" userId="12080223-4edc-449d-b2d6-f01098d434b3" providerId="ADAL" clId="{8ABDC759-3668-454F-8005-F704478FE8B9}" dt="2022-03-14T21:44:54.875" v="908" actId="14100"/>
          <ac:spMkLst>
            <pc:docMk/>
            <pc:sldMk cId="1444918362" sldId="2147470121"/>
            <ac:spMk id="12" creationId="{4BD40B7F-4EE8-4FF6-9E16-5CE3FA2E6C59}"/>
          </ac:spMkLst>
        </pc:spChg>
        <pc:spChg chg="mod">
          <ac:chgData name="William Thayer (CELA)" userId="12080223-4edc-449d-b2d6-f01098d434b3" providerId="ADAL" clId="{8ABDC759-3668-454F-8005-F704478FE8B9}" dt="2022-03-14T21:49:59.248" v="1028" actId="20577"/>
          <ac:spMkLst>
            <pc:docMk/>
            <pc:sldMk cId="1444918362" sldId="2147470121"/>
            <ac:spMk id="24" creationId="{EECF114E-AEB2-483E-A583-9DDDD0CC3173}"/>
          </ac:spMkLst>
        </pc:spChg>
        <pc:spChg chg="del">
          <ac:chgData name="William Thayer (CELA)" userId="12080223-4edc-449d-b2d6-f01098d434b3" providerId="ADAL" clId="{8ABDC759-3668-454F-8005-F704478FE8B9}" dt="2022-03-14T21:44:41.363" v="905" actId="478"/>
          <ac:spMkLst>
            <pc:docMk/>
            <pc:sldMk cId="1444918362" sldId="2147470121"/>
            <ac:spMk id="40" creationId="{28FD4B59-FD79-4D71-BA39-67747CDC2658}"/>
          </ac:spMkLst>
        </pc:spChg>
        <pc:spChg chg="del">
          <ac:chgData name="William Thayer (CELA)" userId="12080223-4edc-449d-b2d6-f01098d434b3" providerId="ADAL" clId="{8ABDC759-3668-454F-8005-F704478FE8B9}" dt="2022-03-14T21:44:44.726" v="906" actId="478"/>
          <ac:spMkLst>
            <pc:docMk/>
            <pc:sldMk cId="1444918362" sldId="2147470121"/>
            <ac:spMk id="42" creationId="{6C5DCD75-4092-40AD-B4EE-CBBB064EBA81}"/>
          </ac:spMkLst>
        </pc:spChg>
        <pc:spChg chg="del">
          <ac:chgData name="William Thayer (CELA)" userId="12080223-4edc-449d-b2d6-f01098d434b3" providerId="ADAL" clId="{8ABDC759-3668-454F-8005-F704478FE8B9}" dt="2022-03-14T21:44:41.363" v="905" actId="478"/>
          <ac:spMkLst>
            <pc:docMk/>
            <pc:sldMk cId="1444918362" sldId="2147470121"/>
            <ac:spMk id="46" creationId="{F77B7171-0256-4470-908E-A438540AEFC9}"/>
          </ac:spMkLst>
        </pc:spChg>
        <pc:spChg chg="del">
          <ac:chgData name="William Thayer (CELA)" userId="12080223-4edc-449d-b2d6-f01098d434b3" providerId="ADAL" clId="{8ABDC759-3668-454F-8005-F704478FE8B9}" dt="2022-03-14T21:44:44.726" v="906" actId="478"/>
          <ac:spMkLst>
            <pc:docMk/>
            <pc:sldMk cId="1444918362" sldId="2147470121"/>
            <ac:spMk id="48" creationId="{624EBB1F-32B1-4176-983C-ED372E985558}"/>
          </ac:spMkLst>
        </pc:spChg>
        <pc:spChg chg="del">
          <ac:chgData name="William Thayer (CELA)" userId="12080223-4edc-449d-b2d6-f01098d434b3" providerId="ADAL" clId="{8ABDC759-3668-454F-8005-F704478FE8B9}" dt="2022-03-14T21:44:41.363" v="905" actId="478"/>
          <ac:spMkLst>
            <pc:docMk/>
            <pc:sldMk cId="1444918362" sldId="2147470121"/>
            <ac:spMk id="52" creationId="{8D09A310-E5A5-4027-A7DD-9D9C0148FBA3}"/>
          </ac:spMkLst>
        </pc:spChg>
        <pc:spChg chg="del">
          <ac:chgData name="William Thayer (CELA)" userId="12080223-4edc-449d-b2d6-f01098d434b3" providerId="ADAL" clId="{8ABDC759-3668-454F-8005-F704478FE8B9}" dt="2022-03-14T21:44:44.726" v="906" actId="478"/>
          <ac:spMkLst>
            <pc:docMk/>
            <pc:sldMk cId="1444918362" sldId="2147470121"/>
            <ac:spMk id="54" creationId="{73D6686B-4BED-4406-A2F9-05E05DDA7194}"/>
          </ac:spMkLst>
        </pc:spChg>
        <pc:spChg chg="mod">
          <ac:chgData name="William Thayer (CELA)" userId="12080223-4edc-449d-b2d6-f01098d434b3" providerId="ADAL" clId="{8ABDC759-3668-454F-8005-F704478FE8B9}" dt="2022-03-14T21:44:50.028" v="907" actId="1076"/>
          <ac:spMkLst>
            <pc:docMk/>
            <pc:sldMk cId="1444918362" sldId="2147470121"/>
            <ac:spMk id="58" creationId="{7F5A27E7-0C1C-4DED-A647-B2E903291B3A}"/>
          </ac:spMkLst>
        </pc:spChg>
        <pc:spChg chg="del">
          <ac:chgData name="William Thayer (CELA)" userId="12080223-4edc-449d-b2d6-f01098d434b3" providerId="ADAL" clId="{8ABDC759-3668-454F-8005-F704478FE8B9}" dt="2022-03-14T21:44:33.752" v="904" actId="478"/>
          <ac:spMkLst>
            <pc:docMk/>
            <pc:sldMk cId="1444918362" sldId="2147470121"/>
            <ac:spMk id="59" creationId="{4626920B-7FF6-4978-BFD0-946ABAF3AC5A}"/>
          </ac:spMkLst>
        </pc:spChg>
        <pc:picChg chg="add del mod">
          <ac:chgData name="William Thayer (CELA)" userId="12080223-4edc-449d-b2d6-f01098d434b3" providerId="ADAL" clId="{8ABDC759-3668-454F-8005-F704478FE8B9}" dt="2022-03-14T21:48:07.577" v="967" actId="478"/>
          <ac:picMkLst>
            <pc:docMk/>
            <pc:sldMk cId="1444918362" sldId="2147470121"/>
            <ac:picMk id="3" creationId="{A63A2529-11CF-49EF-AFB8-CA5C80D3606C}"/>
          </ac:picMkLst>
        </pc:picChg>
        <pc:picChg chg="add mod ord">
          <ac:chgData name="William Thayer (CELA)" userId="12080223-4edc-449d-b2d6-f01098d434b3" providerId="ADAL" clId="{8ABDC759-3668-454F-8005-F704478FE8B9}" dt="2022-03-14T22:18:49.793" v="1873"/>
          <ac:picMkLst>
            <pc:docMk/>
            <pc:sldMk cId="1444918362" sldId="2147470121"/>
            <ac:picMk id="14" creationId="{53065859-7F24-4D41-AD7A-A0FDB4C930F5}"/>
          </ac:picMkLst>
        </pc:picChg>
      </pc:sldChg>
      <pc:sldChg chg="modSp add mod">
        <pc:chgData name="William Thayer (CELA)" userId="12080223-4edc-449d-b2d6-f01098d434b3" providerId="ADAL" clId="{8ABDC759-3668-454F-8005-F704478FE8B9}" dt="2022-03-14T22:19:21.310" v="1889"/>
        <pc:sldMkLst>
          <pc:docMk/>
          <pc:sldMk cId="168858253" sldId="2147470122"/>
        </pc:sldMkLst>
        <pc:spChg chg="mod ord">
          <ac:chgData name="William Thayer (CELA)" userId="12080223-4edc-449d-b2d6-f01098d434b3" providerId="ADAL" clId="{8ABDC759-3668-454F-8005-F704478FE8B9}" dt="2022-03-14T22:19:07.647" v="1884"/>
          <ac:spMkLst>
            <pc:docMk/>
            <pc:sldMk cId="168858253" sldId="2147470122"/>
            <ac:spMk id="3" creationId="{1A7A535E-4B14-4D36-8176-3BBBB4E8591E}"/>
          </ac:spMkLst>
        </pc:spChg>
        <pc:spChg chg="mod ord">
          <ac:chgData name="William Thayer (CELA)" userId="12080223-4edc-449d-b2d6-f01098d434b3" providerId="ADAL" clId="{8ABDC759-3668-454F-8005-F704478FE8B9}" dt="2022-03-14T22:19:04.189" v="1882"/>
          <ac:spMkLst>
            <pc:docMk/>
            <pc:sldMk cId="168858253" sldId="2147470122"/>
            <ac:spMk id="5" creationId="{A03F7211-514D-4B8D-BE2B-178AD2B42AD7}"/>
          </ac:spMkLst>
        </pc:spChg>
        <pc:spChg chg="mod ord">
          <ac:chgData name="William Thayer (CELA)" userId="12080223-4edc-449d-b2d6-f01098d434b3" providerId="ADAL" clId="{8ABDC759-3668-454F-8005-F704478FE8B9}" dt="2022-03-14T22:19:21.310" v="1889"/>
          <ac:spMkLst>
            <pc:docMk/>
            <pc:sldMk cId="168858253" sldId="2147470122"/>
            <ac:spMk id="10" creationId="{902FCE9D-6541-4208-992D-694D471CEC8D}"/>
          </ac:spMkLst>
        </pc:spChg>
        <pc:spChg chg="mod">
          <ac:chgData name="William Thayer (CELA)" userId="12080223-4edc-449d-b2d6-f01098d434b3" providerId="ADAL" clId="{8ABDC759-3668-454F-8005-F704478FE8B9}" dt="2022-03-14T22:04:01.754" v="1177" actId="1076"/>
          <ac:spMkLst>
            <pc:docMk/>
            <pc:sldMk cId="168858253" sldId="2147470122"/>
            <ac:spMk id="31" creationId="{A4CC0BDD-BDAA-41D0-962F-C5676952359B}"/>
          </ac:spMkLst>
        </pc:spChg>
        <pc:picChg chg="mod ord modCrop">
          <ac:chgData name="William Thayer (CELA)" userId="12080223-4edc-449d-b2d6-f01098d434b3" providerId="ADAL" clId="{8ABDC759-3668-454F-8005-F704478FE8B9}" dt="2022-03-14T22:19:18.231" v="1888"/>
          <ac:picMkLst>
            <pc:docMk/>
            <pc:sldMk cId="168858253" sldId="2147470122"/>
            <ac:picMk id="4" creationId="{94F057A2-A31F-47BA-911A-1E4DDF59C9E1}"/>
          </ac:picMkLst>
        </pc:picChg>
        <pc:picChg chg="mod">
          <ac:chgData name="William Thayer (CELA)" userId="12080223-4edc-449d-b2d6-f01098d434b3" providerId="ADAL" clId="{8ABDC759-3668-454F-8005-F704478FE8B9}" dt="2022-03-14T22:19:15.769" v="1887"/>
          <ac:picMkLst>
            <pc:docMk/>
            <pc:sldMk cId="168858253" sldId="2147470122"/>
            <ac:picMk id="6" creationId="{8F32A93A-38F2-410C-B915-4111CDC21504}"/>
          </ac:picMkLst>
        </pc:picChg>
        <pc:picChg chg="mod">
          <ac:chgData name="William Thayer (CELA)" userId="12080223-4edc-449d-b2d6-f01098d434b3" providerId="ADAL" clId="{8ABDC759-3668-454F-8005-F704478FE8B9}" dt="2022-03-14T22:05:00.215" v="1190" actId="1076"/>
          <ac:picMkLst>
            <pc:docMk/>
            <pc:sldMk cId="168858253" sldId="2147470122"/>
            <ac:picMk id="9" creationId="{40DC86D3-426C-4640-9C7A-BF842CE095C0}"/>
          </ac:picMkLst>
        </pc:picChg>
      </pc:sldChg>
      <pc:sldChg chg="addSp delSp modSp add mod ord">
        <pc:chgData name="William Thayer (CELA)" userId="12080223-4edc-449d-b2d6-f01098d434b3" providerId="ADAL" clId="{8ABDC759-3668-454F-8005-F704478FE8B9}" dt="2022-03-15T01:35:48.928" v="2338" actId="962"/>
        <pc:sldMkLst>
          <pc:docMk/>
          <pc:sldMk cId="4248977193" sldId="2147470123"/>
        </pc:sldMkLst>
        <pc:spChg chg="add mod">
          <ac:chgData name="William Thayer (CELA)" userId="12080223-4edc-449d-b2d6-f01098d434b3" providerId="ADAL" clId="{8ABDC759-3668-454F-8005-F704478FE8B9}" dt="2022-03-15T01:08:16.973" v="2039" actId="207"/>
          <ac:spMkLst>
            <pc:docMk/>
            <pc:sldMk cId="4248977193" sldId="2147470123"/>
            <ac:spMk id="3" creationId="{A070BAE6-4F55-453B-8275-8FEA16F09683}"/>
          </ac:spMkLst>
        </pc:spChg>
        <pc:spChg chg="del">
          <ac:chgData name="William Thayer (CELA)" userId="12080223-4edc-449d-b2d6-f01098d434b3" providerId="ADAL" clId="{8ABDC759-3668-454F-8005-F704478FE8B9}" dt="2022-03-15T01:07:49.786" v="2017" actId="478"/>
          <ac:spMkLst>
            <pc:docMk/>
            <pc:sldMk cId="4248977193" sldId="2147470123"/>
            <ac:spMk id="8" creationId="{C96EEFB4-E43E-42B6-BC60-10ECD60C7B40}"/>
          </ac:spMkLst>
        </pc:spChg>
        <pc:picChg chg="add mod">
          <ac:chgData name="William Thayer (CELA)" userId="12080223-4edc-449d-b2d6-f01098d434b3" providerId="ADAL" clId="{8ABDC759-3668-454F-8005-F704478FE8B9}" dt="2022-03-15T01:35:48.928" v="2338" actId="962"/>
          <ac:picMkLst>
            <pc:docMk/>
            <pc:sldMk cId="4248977193" sldId="2147470123"/>
            <ac:picMk id="534530" creationId="{C16B30AE-0E59-469C-8733-C40806806854}"/>
          </ac:picMkLst>
        </pc:picChg>
      </pc:sldChg>
      <pc:sldChg chg="modSp new del mod">
        <pc:chgData name="William Thayer (CELA)" userId="12080223-4edc-449d-b2d6-f01098d434b3" providerId="ADAL" clId="{8ABDC759-3668-454F-8005-F704478FE8B9}" dt="2022-03-15T01:39:37.038" v="2516" actId="47"/>
        <pc:sldMkLst>
          <pc:docMk/>
          <pc:sldMk cId="734174140" sldId="2147470124"/>
        </pc:sldMkLst>
        <pc:spChg chg="mod">
          <ac:chgData name="William Thayer (CELA)" userId="12080223-4edc-449d-b2d6-f01098d434b3" providerId="ADAL" clId="{8ABDC759-3668-454F-8005-F704478FE8B9}" dt="2022-03-15T01:09:41.715" v="2055" actId="20577"/>
          <ac:spMkLst>
            <pc:docMk/>
            <pc:sldMk cId="734174140" sldId="2147470124"/>
            <ac:spMk id="2" creationId="{116DFC10-9367-4F66-9611-A84DE50436A4}"/>
          </ac:spMkLst>
        </pc:spChg>
      </pc:sldChg>
      <pc:sldMasterChg chg="del delSldLayout">
        <pc:chgData name="William Thayer (CELA)" userId="12080223-4edc-449d-b2d6-f01098d434b3" providerId="ADAL" clId="{8ABDC759-3668-454F-8005-F704478FE8B9}" dt="2022-03-14T21:46:25.345" v="962" actId="47"/>
        <pc:sldMasterMkLst>
          <pc:docMk/>
          <pc:sldMasterMk cId="3080804140" sldId="2147485392"/>
        </pc:sldMasterMkLst>
        <pc:sldLayoutChg chg="del">
          <pc:chgData name="William Thayer (CELA)" userId="12080223-4edc-449d-b2d6-f01098d434b3" providerId="ADAL" clId="{8ABDC759-3668-454F-8005-F704478FE8B9}" dt="2022-03-14T21:46:25.345" v="962" actId="47"/>
          <pc:sldLayoutMkLst>
            <pc:docMk/>
            <pc:sldMasterMk cId="3080804140" sldId="2147485392"/>
            <pc:sldLayoutMk cId="2479926834" sldId="2147485393"/>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1332949209" sldId="2147485394"/>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3159548096" sldId="2147485395"/>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2560195851" sldId="2147485396"/>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2144647827" sldId="2147485397"/>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3707279330" sldId="2147485398"/>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601292880" sldId="2147485399"/>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2269090071" sldId="2147485400"/>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612286583" sldId="2147485401"/>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665763963" sldId="2147485402"/>
          </pc:sldLayoutMkLst>
        </pc:sldLayoutChg>
        <pc:sldLayoutChg chg="del">
          <pc:chgData name="William Thayer (CELA)" userId="12080223-4edc-449d-b2d6-f01098d434b3" providerId="ADAL" clId="{8ABDC759-3668-454F-8005-F704478FE8B9}" dt="2022-03-14T21:46:25.345" v="962" actId="47"/>
          <pc:sldLayoutMkLst>
            <pc:docMk/>
            <pc:sldMasterMk cId="3080804140" sldId="2147485392"/>
            <pc:sldLayoutMk cId="542524506" sldId="2147485403"/>
          </pc:sldLayoutMkLst>
        </pc:sldLayoutChg>
      </pc:sldMasterChg>
    </pc:docChg>
  </pc:docChgLst>
</pc:chgInfo>
</file>

<file path=ppt/comments/modernComment_805_C8941348.xml><?xml version="1.0" encoding="utf-8"?>
<p188:cmLst xmlns:a="http://schemas.openxmlformats.org/drawingml/2006/main" xmlns:r="http://schemas.openxmlformats.org/officeDocument/2006/relationships" xmlns:p188="http://schemas.microsoft.com/office/powerpoint/2018/8/main">
  <p188:cm id="{2F2FE199-BC7A-4F53-85CC-1E8DF1C1C434}" authorId="{1219FD86-559F-B6E6-C2A3-CEE52834C9D0}" status="resolved" created="2022-03-15T00:00:00.254" complete="100000">
    <pc:sldMkLst xmlns:pc="http://schemas.microsoft.com/office/powerpoint/2013/main/command">
      <pc:docMk/>
      <pc:sldMk cId="3365147464" sldId="2053"/>
    </pc:sldMkLst>
    <p188:txBody>
      <a:bodyPr/>
      <a:lstStyle/>
      <a:p>
        <a:r>
          <a:rPr lang="en-US"/>
          <a:t>Add public link [@William Thayer (CELA)] </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5255"/>
            <a:ext cx="3043343" cy="602615"/>
          </a:xfrm>
          <a:prstGeom prst="rect">
            <a:avLst/>
          </a:prstGeom>
        </p:spPr>
        <p:txBody>
          <a:bodyPr vert="horz" lIns="108996" tIns="54498" rIns="108996" bIns="54498" rtlCol="0"/>
          <a:lstStyle>
            <a:lvl1pPr algn="l">
              <a:defRPr sz="1400"/>
            </a:lvl1pPr>
          </a:lstStyle>
          <a:p>
            <a:endParaRPr lang="en-US">
              <a:latin typeface="Segoe UI" pitchFamily="34" charset="0"/>
            </a:endParaRPr>
          </a:p>
        </p:txBody>
      </p:sp>
      <p:sp>
        <p:nvSpPr>
          <p:cNvPr id="7" name="Date Placeholder 6"/>
          <p:cNvSpPr>
            <a:spLocks noGrp="1"/>
          </p:cNvSpPr>
          <p:nvPr>
            <p:ph type="dt" sz="quarter" idx="1"/>
          </p:nvPr>
        </p:nvSpPr>
        <p:spPr>
          <a:xfrm>
            <a:off x="3978132" y="0"/>
            <a:ext cx="3043343" cy="602615"/>
          </a:xfrm>
          <a:prstGeom prst="rect">
            <a:avLst/>
          </a:prstGeom>
        </p:spPr>
        <p:txBody>
          <a:bodyPr vert="horz" lIns="108996" tIns="54498" rIns="108996" bIns="54498" rtlCol="0"/>
          <a:lstStyle>
            <a:lvl1pPr algn="r">
              <a:defRPr sz="1400"/>
            </a:lvl1pPr>
          </a:lstStyle>
          <a:p>
            <a:fld id="{460F9EC6-89FF-47E1-8594-1A32E3B45134}" type="datetime8">
              <a:rPr lang="en-US" smtClean="0">
                <a:latin typeface="Segoe UI" pitchFamily="34" charset="0"/>
              </a:rPr>
              <a:t>3/15/22 11:41 AM</a:t>
            </a:fld>
            <a:endParaRPr lang="en-US">
              <a:latin typeface="Segoe UI" pitchFamily="34" charset="0"/>
            </a:endParaRPr>
          </a:p>
        </p:txBody>
      </p:sp>
      <p:sp>
        <p:nvSpPr>
          <p:cNvPr id="8" name="Footer Placeholder 7"/>
          <p:cNvSpPr>
            <a:spLocks noGrp="1"/>
          </p:cNvSpPr>
          <p:nvPr>
            <p:ph type="ftr" sz="quarter" idx="2"/>
          </p:nvPr>
        </p:nvSpPr>
        <p:spPr>
          <a:xfrm>
            <a:off x="0" y="11447593"/>
            <a:ext cx="5934520" cy="438166"/>
          </a:xfrm>
          <a:prstGeom prst="rect">
            <a:avLst/>
          </a:prstGeom>
        </p:spPr>
        <p:txBody>
          <a:bodyPr vert="horz" lIns="108996" tIns="54498" rIns="108996" bIns="54498" rtlCol="0" anchor="b"/>
          <a:lstStyle>
            <a:lvl1pPr algn="l">
              <a:defRPr sz="1400"/>
            </a:lvl1pPr>
          </a:lstStyle>
          <a:p>
            <a:pPr marL="474968" defTabSz="1089606" eaLnBrk="0" hangingPunct="0"/>
            <a:r>
              <a:rPr lang="en-US" sz="5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22814" y="11447593"/>
            <a:ext cx="1098660" cy="602615"/>
          </a:xfrm>
          <a:prstGeom prst="rect">
            <a:avLst/>
          </a:prstGeom>
        </p:spPr>
        <p:txBody>
          <a:bodyPr vert="horz" lIns="108996" tIns="54498" rIns="108996" bIns="54498" rtlCol="0" anchor="b"/>
          <a:lstStyle>
            <a:lvl1pPr algn="r">
              <a:defRPr sz="14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602615"/>
          </a:xfrm>
          <a:prstGeom prst="rect">
            <a:avLst/>
          </a:prstGeom>
        </p:spPr>
        <p:txBody>
          <a:bodyPr vert="horz" lIns="108996" tIns="54498" rIns="108996" bIns="54498" rtlCol="0"/>
          <a:lstStyle>
            <a:lvl1pPr algn="l">
              <a:defRPr sz="14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504825" y="903288"/>
            <a:ext cx="8032750" cy="4519612"/>
          </a:xfrm>
          <a:prstGeom prst="rect">
            <a:avLst/>
          </a:prstGeom>
          <a:noFill/>
          <a:ln w="12700">
            <a:solidFill>
              <a:prstClr val="black"/>
            </a:solidFill>
          </a:ln>
        </p:spPr>
        <p:txBody>
          <a:bodyPr vert="horz" lIns="108996" tIns="54498" rIns="108996" bIns="54498" rtlCol="0" anchor="ctr"/>
          <a:lstStyle/>
          <a:p>
            <a:endParaRPr lang="en-US"/>
          </a:p>
        </p:txBody>
      </p:sp>
      <p:sp>
        <p:nvSpPr>
          <p:cNvPr id="10" name="Footer Placeholder 9"/>
          <p:cNvSpPr>
            <a:spLocks noGrp="1"/>
          </p:cNvSpPr>
          <p:nvPr>
            <p:ph type="ftr" sz="quarter" idx="4"/>
          </p:nvPr>
        </p:nvSpPr>
        <p:spPr>
          <a:xfrm>
            <a:off x="0" y="11449685"/>
            <a:ext cx="6063276" cy="469180"/>
          </a:xfrm>
          <a:prstGeom prst="rect">
            <a:avLst/>
          </a:prstGeom>
        </p:spPr>
        <p:txBody>
          <a:bodyPr vert="horz" lIns="108996" tIns="54498" rIns="108996" bIns="54498" rtlCol="0" anchor="b"/>
          <a:lstStyle>
            <a:lvl1pPr marL="681228" indent="0" algn="l">
              <a:defRPr sz="1400"/>
            </a:lvl1p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8132" y="0"/>
            <a:ext cx="3043343" cy="602615"/>
          </a:xfrm>
          <a:prstGeom prst="rect">
            <a:avLst/>
          </a:prstGeom>
        </p:spPr>
        <p:txBody>
          <a:bodyPr vert="horz" lIns="108996" tIns="54498" rIns="108996" bIns="54498" rtlCol="0"/>
          <a:lstStyle>
            <a:lvl1pPr algn="r">
              <a:defRPr sz="1400">
                <a:latin typeface="Segoe UI" pitchFamily="34" charset="0"/>
              </a:defRPr>
            </a:lvl1pPr>
          </a:lstStyle>
          <a:p>
            <a:fld id="{386CE63F-9E7F-4C04-9D0D-FCA25A8E9E86}" type="datetime8">
              <a:rPr lang="en-US" smtClean="0"/>
              <a:t>3/15/22 11:40 AM</a:t>
            </a:fld>
            <a:endParaRPr lang="en-US"/>
          </a:p>
        </p:txBody>
      </p:sp>
      <p:sp>
        <p:nvSpPr>
          <p:cNvPr id="12" name="Notes Placeholder 11"/>
          <p:cNvSpPr>
            <a:spLocks noGrp="1"/>
          </p:cNvSpPr>
          <p:nvPr>
            <p:ph type="body" sz="quarter" idx="3"/>
          </p:nvPr>
        </p:nvSpPr>
        <p:spPr>
          <a:xfrm>
            <a:off x="702310" y="5724843"/>
            <a:ext cx="5618480" cy="5423535"/>
          </a:xfrm>
          <a:prstGeom prst="rect">
            <a:avLst/>
          </a:prstGeom>
        </p:spPr>
        <p:txBody>
          <a:bodyPr vert="horz" lIns="108996" tIns="54498" rIns="108996" bIns="5449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11447593"/>
            <a:ext cx="969904" cy="602615"/>
          </a:xfrm>
          <a:prstGeom prst="rect">
            <a:avLst/>
          </a:prstGeom>
        </p:spPr>
        <p:txBody>
          <a:bodyPr vert="horz" lIns="108996" tIns="54498" rIns="108996" bIns="54498" rtlCol="0" anchor="b"/>
          <a:lstStyle>
            <a:lvl1pPr algn="r">
              <a:defRPr sz="14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1089606" eaLnBrk="0" hangingPunct="0"/>
            <a:r>
              <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3/15/22 11:4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318745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2 11: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4399598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1111555"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111555"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52888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4</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3312519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5</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6765824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6</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2981059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7</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4109994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8</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8917212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9</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48861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3043343" cy="602615"/>
          </a:xfrm>
          <a:prstGeom prst="rect">
            <a:avLst/>
          </a:prstGeom>
        </p:spPr>
        <p:txBody>
          <a:bodyPr/>
          <a:lstStyle/>
          <a:p>
            <a:endParaRPr lang="en-US">
              <a:solidFill>
                <a:prstClr val="black"/>
              </a:solidFill>
            </a:endParaRPr>
          </a:p>
        </p:txBody>
      </p:sp>
      <p:sp>
        <p:nvSpPr>
          <p:cNvPr id="5" name="Date Placeholder 4"/>
          <p:cNvSpPr>
            <a:spLocks noGrp="1"/>
          </p:cNvSpPr>
          <p:nvPr>
            <p:ph type="dt" idx="11"/>
          </p:nvPr>
        </p:nvSpPr>
        <p:spPr/>
        <p:txBody>
          <a:bodyPr/>
          <a:lstStyle/>
          <a:p>
            <a:fld id="{0ECFDC7D-F4BE-4668-920D-08874925A5D7}" type="datetime8">
              <a:rPr lang="en-US" smtClean="0">
                <a:solidFill>
                  <a:prstClr val="black"/>
                </a:solidFill>
              </a:rPr>
              <a:t>3/15/22 11:41 A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0</a:t>
            </a:fld>
            <a:endParaRPr lang="en-US">
              <a:solidFill>
                <a:prstClr val="black"/>
              </a:solidFill>
            </a:endParaRPr>
          </a:p>
        </p:txBody>
      </p:sp>
      <p:sp>
        <p:nvSpPr>
          <p:cNvPr id="6" name="Footer Placeholder 5"/>
          <p:cNvSpPr>
            <a:spLocks noGrp="1"/>
          </p:cNvSpPr>
          <p:nvPr>
            <p:ph type="ftr" sz="quarter" idx="14"/>
          </p:nvPr>
        </p:nvSpPr>
        <p:spPr/>
        <p:txBody>
          <a:bodyPr/>
          <a:lstStyle/>
          <a:p>
            <a:pPr defTabSz="1089606" eaLnBrk="0" hangingPunct="0"/>
            <a:r>
              <a:rPr lang="en-US" sz="5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980279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1111555"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111555"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0349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defTabSz="1111555">
              <a:defRPr/>
            </a:pPr>
            <a:fld id="{C71D549F-8022-4AE4-8B8D-5F6EA48A2C7F}" type="slidenum">
              <a:rPr lang="en-US">
                <a:solidFill>
                  <a:prstClr val="black"/>
                </a:solidFill>
              </a:rPr>
              <a:pPr defTabSz="1111555">
                <a:defRPr/>
              </a:pPr>
              <a:t>4</a:t>
            </a:fld>
            <a:endParaRPr lang="en-US">
              <a:solidFill>
                <a:prstClr val="black"/>
              </a:solidFill>
            </a:endParaRPr>
          </a:p>
        </p:txBody>
      </p:sp>
    </p:spTree>
    <p:extLst>
      <p:ext uri="{BB962C8B-B14F-4D97-AF65-F5344CB8AC3E}">
        <p14:creationId xmlns:p14="http://schemas.microsoft.com/office/powerpoint/2010/main" val="30672291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defTabSz="1111555">
              <a:defRPr/>
            </a:pPr>
            <a:fld id="{C71D549F-8022-4AE4-8B8D-5F6EA48A2C7F}" type="slidenum">
              <a:rPr lang="en-US">
                <a:solidFill>
                  <a:prstClr val="black"/>
                </a:solidFill>
              </a:rPr>
              <a:pPr defTabSz="1111555">
                <a:defRPr/>
              </a:pPr>
              <a:t>5</a:t>
            </a:fld>
            <a:endParaRPr lang="en-US">
              <a:solidFill>
                <a:prstClr val="black"/>
              </a:solidFill>
            </a:endParaRPr>
          </a:p>
        </p:txBody>
      </p:sp>
    </p:spTree>
    <p:extLst>
      <p:ext uri="{BB962C8B-B14F-4D97-AF65-F5344CB8AC3E}">
        <p14:creationId xmlns:p14="http://schemas.microsoft.com/office/powerpoint/2010/main" val="4174899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1111555"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111555"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797594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4825" y="903288"/>
            <a:ext cx="8032750" cy="4519612"/>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a:xfrm>
            <a:off x="0" y="0"/>
            <a:ext cx="3043343" cy="602615"/>
          </a:xfrm>
          <a:prstGeom prst="rect">
            <a:avLst/>
          </a:prstGeom>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Date Placeholder 4"/>
          <p:cNvSpPr>
            <a:spLocks noGrp="1"/>
          </p:cNvSpPr>
          <p:nvPr>
            <p:ph type="dt" idx="1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0ECFDC7D-F4BE-4668-920D-08874925A5D7}" type="datetime8">
              <a:rPr kumimoji="0" lang="en-US" sz="14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2 11:41 AM</a:t>
            </a:fld>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4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Footer Placeholder 5"/>
          <p:cNvSpPr>
            <a:spLocks noGrp="1"/>
          </p:cNvSpPr>
          <p:nvPr>
            <p:ph type="ftr" sz="quarter" idx="14"/>
          </p:nvPr>
        </p:nvSpPr>
        <p:spPr/>
        <p:txBody>
          <a:bodyPr/>
          <a:lstStyle/>
          <a:p>
            <a:pPr marL="681228" marR="0" lvl="0" indent="0" algn="l" defTabSz="1089606"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3650600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a:p>
        </p:txBody>
      </p:sp>
      <p:sp>
        <p:nvSpPr>
          <p:cNvPr id="4" name="Slide Number Placeholder 3"/>
          <p:cNvSpPr>
            <a:spLocks noGrp="1"/>
          </p:cNvSpPr>
          <p:nvPr>
            <p:ph type="sldNum" sz="quarter" idx="5"/>
          </p:nvPr>
        </p:nvSpPr>
        <p:spPr/>
        <p:txBody>
          <a:bodyPr/>
          <a:lstStyle/>
          <a:p>
            <a:pPr marL="0" marR="0" lvl="0" indent="0" algn="r" defTabSz="1111555" rtl="0" eaLnBrk="1" fontAlgn="auto" latinLnBrk="0" hangingPunct="1">
              <a:lnSpc>
                <a:spcPct val="100000"/>
              </a:lnSpc>
              <a:spcBef>
                <a:spcPts val="0"/>
              </a:spcBef>
              <a:spcAft>
                <a:spcPts val="0"/>
              </a:spcAft>
              <a:buClrTx/>
              <a:buSzTx/>
              <a:buFontTx/>
              <a:buNone/>
              <a:tabLst/>
              <a:defRPr/>
            </a:pPr>
            <a:fld id="{C71D549F-8022-4AE4-8B8D-5F6EA48A2C7F}" type="slidenum">
              <a:rPr kumimoji="0" lang="en-US" sz="14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1111555"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931774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D902E036-7885-4D18-81CB-35E350EE24C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5/22 11:4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8" name="Notes Placeholder 7"/>
          <p:cNvSpPr>
            <a:spLocks noGrp="1"/>
          </p:cNvSpPr>
          <p:nvPr>
            <p:ph type="body" sz="quarter" idx="14"/>
          </p:nvPr>
        </p:nvSpPr>
        <p:spPr/>
        <p:txBody>
          <a:bodyPr/>
          <a:lstStyle/>
          <a:p>
            <a:pPr>
              <a:buFont typeface="Arial" panose="020B0604020202020204" pitchFamily="34" charset="0"/>
            </a:pPr>
            <a:endParaRPr lang="en-US" sz="1200" b="0" i="0" u="none" strike="noStrike">
              <a:solidFill>
                <a:srgbClr val="000000"/>
              </a:solidFill>
              <a:effectLst/>
              <a:latin typeface="+mn-lt"/>
              <a:cs typeface="Segoe UI"/>
            </a:endParaRPr>
          </a:p>
        </p:txBody>
      </p:sp>
      <p:sp>
        <p:nvSpPr>
          <p:cNvPr id="9" name="Footer Placeholder 8"/>
          <p:cNvSpPr>
            <a:spLocks noGrp="1"/>
          </p:cNvSpPr>
          <p:nvPr>
            <p:ph type="ftr" sz="quarter" idx="15"/>
          </p:nvPr>
        </p:nvSpPr>
        <p:spPr/>
        <p:txBody>
          <a:bodyPr/>
          <a:lstStyle/>
          <a:p>
            <a:pPr marL="571500" marR="0" lvl="0" indent="0" algn="l" defTabSz="9313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10" name="Header Placeholder 9"/>
          <p:cNvSpPr>
            <a:spLocks noGrp="1"/>
          </p:cNvSpPr>
          <p:nvPr>
            <p:ph type="hdr" sz="quarter" idx="16"/>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Our culture</a:t>
            </a:r>
          </a:p>
        </p:txBody>
      </p:sp>
    </p:spTree>
    <p:extLst>
      <p:ext uri="{BB962C8B-B14F-4D97-AF65-F5344CB8AC3E}">
        <p14:creationId xmlns:p14="http://schemas.microsoft.com/office/powerpoint/2010/main" val="1413731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74E494-E4A2-4BC1-858A-33A0E7681DA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43253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1.emf"/><Relationship Id="rId1" Type="http://schemas.openxmlformats.org/officeDocument/2006/relationships/slideMaster" Target="../slideMasters/slideMaster4.xml"/><Relationship Id="rId4" Type="http://schemas.openxmlformats.org/officeDocument/2006/relationships/image" Target="../media/image30.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image" Target="../media/image2.emf"/><Relationship Id="rId1" Type="http://schemas.openxmlformats.org/officeDocument/2006/relationships/slideMaster" Target="../slideMasters/slideMaster5.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jpe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image" Target="../media/image11.emf"/><Relationship Id="rId1" Type="http://schemas.openxmlformats.org/officeDocument/2006/relationships/slideMaster" Target="../slideMasters/slideMaster5.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eg"/><Relationship Id="rId10" Type="http://schemas.openxmlformats.org/officeDocument/2006/relationships/image" Target="../media/image43.jpeg"/><Relationship Id="rId4" Type="http://schemas.openxmlformats.org/officeDocument/2006/relationships/image" Target="../media/image35.jpeg"/><Relationship Id="rId9" Type="http://schemas.openxmlformats.org/officeDocument/2006/relationships/image" Target="../media/image40.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55.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63.jpe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8.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Master" Target="../slideMasters/slideMaster8.xml"/><Relationship Id="rId4" Type="http://schemas.openxmlformats.org/officeDocument/2006/relationships/image" Target="../media/image69.jpeg"/></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Master" Target="../slideMasters/slideMaster8.xml"/><Relationship Id="rId5" Type="http://schemas.openxmlformats.org/officeDocument/2006/relationships/image" Target="../media/image73.jpeg"/><Relationship Id="rId4" Type="http://schemas.openxmlformats.org/officeDocument/2006/relationships/image" Target="../media/image72.jpe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8.xml"/><Relationship Id="rId6" Type="http://schemas.openxmlformats.org/officeDocument/2006/relationships/image" Target="../media/image74.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8.xml"/><Relationship Id="rId4" Type="http://schemas.openxmlformats.org/officeDocument/2006/relationships/image" Target="../media/image63.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8.xml"/><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57.jpeg"/><Relationship Id="rId1" Type="http://schemas.openxmlformats.org/officeDocument/2006/relationships/slideMaster" Target="../slideMasters/slideMaster8.xml"/><Relationship Id="rId6" Type="http://schemas.openxmlformats.org/officeDocument/2006/relationships/image" Target="../media/image74.jpeg"/><Relationship Id="rId5" Type="http://schemas.openxmlformats.org/officeDocument/2006/relationships/image" Target="../media/image64.jpeg"/><Relationship Id="rId4" Type="http://schemas.openxmlformats.org/officeDocument/2006/relationships/image" Target="../media/image63.jpeg"/></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5.jpe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2.emf"/><Relationship Id="rId1" Type="http://schemas.openxmlformats.org/officeDocument/2006/relationships/slideMaster" Target="../slideMasters/slideMaster9.xml"/><Relationship Id="rId4" Type="http://schemas.openxmlformats.org/officeDocument/2006/relationships/image" Target="../media/image77.jpeg"/></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8.png"/><Relationship Id="rId7" Type="http://schemas.microsoft.com/office/2007/relationships/hdphoto" Target="../media/hdphoto2.wdp"/><Relationship Id="rId2" Type="http://schemas.openxmlformats.org/officeDocument/2006/relationships/image" Target="../media/image11.emf"/><Relationship Id="rId1" Type="http://schemas.openxmlformats.org/officeDocument/2006/relationships/slideMaster" Target="../slideMasters/slideMaster10.xml"/><Relationship Id="rId6" Type="http://schemas.openxmlformats.org/officeDocument/2006/relationships/image" Target="../media/image80.png"/><Relationship Id="rId5" Type="http://schemas.openxmlformats.org/officeDocument/2006/relationships/image" Target="../media/image79.jpeg"/><Relationship Id="rId10" Type="http://schemas.openxmlformats.org/officeDocument/2006/relationships/image" Target="../media/image83.jpeg"/><Relationship Id="rId4" Type="http://schemas.microsoft.com/office/2007/relationships/hdphoto" Target="../media/hdphoto1.wdp"/><Relationship Id="rId9" Type="http://schemas.openxmlformats.org/officeDocument/2006/relationships/image" Target="../media/image82.jpeg"/></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emf"/><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0.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oleObject" Target="../embeddings/oleObject3.bin"/></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emf"/><Relationship Id="rId1" Type="http://schemas.openxmlformats.org/officeDocument/2006/relationships/slideMaster" Target="../slideMasters/slideMaster11.xml"/><Relationship Id="rId4" Type="http://schemas.openxmlformats.org/officeDocument/2006/relationships/image" Target="../media/image86.svg"/></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160485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72986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01436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Disability in the Modern Wor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467723-1F79-4942-A4DE-7A958DBECAE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9"/>
          <a:stretch/>
        </p:blipFill>
        <p:spPr>
          <a:xfrm>
            <a:off x="0" y="0"/>
            <a:ext cx="12190270" cy="6882978"/>
          </a:xfrm>
          <a:prstGeom prst="rect">
            <a:avLst/>
          </a:prstGeom>
        </p:spPr>
      </p:pic>
      <p:sp>
        <p:nvSpPr>
          <p:cNvPr id="3" name="Rectangle 2">
            <a:extLst>
              <a:ext uri="{FF2B5EF4-FFF2-40B4-BE49-F238E27FC236}">
                <a16:creationId xmlns:a16="http://schemas.microsoft.com/office/drawing/2014/main" id="{B15421F1-5462-4A8A-8F6A-BEFC3E8471AC}"/>
              </a:ext>
              <a:ext uri="{C183D7F6-B498-43B3-948B-1728B52AA6E4}">
                <adec:decorative xmlns:adec="http://schemas.microsoft.com/office/drawing/2017/decorative" val="1"/>
              </a:ext>
            </a:extLst>
          </p:cNvPr>
          <p:cNvSpPr/>
          <p:nvPr userDrawn="1"/>
        </p:nvSpPr>
        <p:spPr bwMode="auto">
          <a:xfrm>
            <a:off x="-2094" y="0"/>
            <a:ext cx="12190272" cy="6882978"/>
          </a:xfrm>
          <a:prstGeom prst="rect">
            <a:avLst/>
          </a:prstGeom>
          <a:solidFill>
            <a:srgbClr val="00000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9B1EC653-4AE2-46DE-B943-C4145560F478}"/>
              </a:ext>
              <a:ext uri="{C183D7F6-B498-43B3-948B-1728B52AA6E4}">
                <adec:decorative xmlns:adec="http://schemas.microsoft.com/office/drawing/2017/decorative" val="1"/>
              </a:ext>
            </a:extLst>
          </p:cNvPr>
          <p:cNvSpPr/>
          <p:nvPr userDrawn="1"/>
        </p:nvSpPr>
        <p:spPr bwMode="auto">
          <a:xfrm>
            <a:off x="10068113" y="412235"/>
            <a:ext cx="2124250" cy="4157360"/>
          </a:xfrm>
          <a:custGeom>
            <a:avLst/>
            <a:gdLst>
              <a:gd name="connsiteX0" fmla="*/ 2124546 w 2124552"/>
              <a:gd name="connsiteY0" fmla="*/ 0 h 4309204"/>
              <a:gd name="connsiteX1" fmla="*/ 2120341 w 2124552"/>
              <a:gd name="connsiteY1" fmla="*/ 3735089 h 4309204"/>
              <a:gd name="connsiteX2" fmla="*/ 2120113 w 2124552"/>
              <a:gd name="connsiteY2" fmla="*/ 3963333 h 4309204"/>
              <a:gd name="connsiteX3" fmla="*/ 61596 w 2124552"/>
              <a:gd name="connsiteY3" fmla="*/ 4157950 h 4309204"/>
              <a:gd name="connsiteX4" fmla="*/ 66876 w 2124552"/>
              <a:gd name="connsiteY4" fmla="*/ 4184105 h 4309204"/>
              <a:gd name="connsiteX5" fmla="*/ 43140 w 2124552"/>
              <a:gd name="connsiteY5" fmla="*/ 4301675 h 4309204"/>
              <a:gd name="connsiteX6" fmla="*/ 39053 w 2124552"/>
              <a:gd name="connsiteY6" fmla="*/ 4309204 h 4309204"/>
              <a:gd name="connsiteX7" fmla="*/ 52064 w 2124552"/>
              <a:gd name="connsiteY7" fmla="*/ 4267289 h 4309204"/>
              <a:gd name="connsiteX8" fmla="*/ 58201 w 2124552"/>
              <a:gd name="connsiteY8" fmla="*/ 4206416 h 4309204"/>
              <a:gd name="connsiteX9" fmla="*/ 6616 w 2124552"/>
              <a:gd name="connsiteY9" fmla="*/ 4037540 h 4309204"/>
              <a:gd name="connsiteX10" fmla="*/ 0 w 2124552"/>
              <a:gd name="connsiteY10" fmla="*/ 4029521 h 4309204"/>
              <a:gd name="connsiteX11" fmla="*/ 2124546 w 2124552"/>
              <a:gd name="connsiteY11" fmla="*/ 0 h 4309204"/>
              <a:gd name="connsiteX0" fmla="*/ 2124546 w 2124552"/>
              <a:gd name="connsiteY0" fmla="*/ 0 h 4301675"/>
              <a:gd name="connsiteX1" fmla="*/ 2120341 w 2124552"/>
              <a:gd name="connsiteY1" fmla="*/ 3735089 h 4301675"/>
              <a:gd name="connsiteX2" fmla="*/ 2120113 w 2124552"/>
              <a:gd name="connsiteY2" fmla="*/ 3963333 h 4301675"/>
              <a:gd name="connsiteX3" fmla="*/ 61596 w 2124552"/>
              <a:gd name="connsiteY3" fmla="*/ 4157950 h 4301675"/>
              <a:gd name="connsiteX4" fmla="*/ 66876 w 2124552"/>
              <a:gd name="connsiteY4" fmla="*/ 4184105 h 4301675"/>
              <a:gd name="connsiteX5" fmla="*/ 43140 w 2124552"/>
              <a:gd name="connsiteY5" fmla="*/ 4301675 h 4301675"/>
              <a:gd name="connsiteX6" fmla="*/ 52064 w 2124552"/>
              <a:gd name="connsiteY6" fmla="*/ 4267289 h 4301675"/>
              <a:gd name="connsiteX7" fmla="*/ 58201 w 2124552"/>
              <a:gd name="connsiteY7" fmla="*/ 4206416 h 4301675"/>
              <a:gd name="connsiteX8" fmla="*/ 6616 w 2124552"/>
              <a:gd name="connsiteY8" fmla="*/ 4037540 h 4301675"/>
              <a:gd name="connsiteX9" fmla="*/ 0 w 2124552"/>
              <a:gd name="connsiteY9" fmla="*/ 4029521 h 4301675"/>
              <a:gd name="connsiteX10" fmla="*/ 2124546 w 2124552"/>
              <a:gd name="connsiteY10" fmla="*/ 0 h 4301675"/>
              <a:gd name="connsiteX0" fmla="*/ 2124546 w 2124552"/>
              <a:gd name="connsiteY0" fmla="*/ 0 h 4267289"/>
              <a:gd name="connsiteX1" fmla="*/ 2120341 w 2124552"/>
              <a:gd name="connsiteY1" fmla="*/ 3735089 h 4267289"/>
              <a:gd name="connsiteX2" fmla="*/ 2120113 w 2124552"/>
              <a:gd name="connsiteY2" fmla="*/ 3963333 h 4267289"/>
              <a:gd name="connsiteX3" fmla="*/ 61596 w 2124552"/>
              <a:gd name="connsiteY3" fmla="*/ 4157950 h 4267289"/>
              <a:gd name="connsiteX4" fmla="*/ 66876 w 2124552"/>
              <a:gd name="connsiteY4" fmla="*/ 4184105 h 4267289"/>
              <a:gd name="connsiteX5" fmla="*/ 52064 w 2124552"/>
              <a:gd name="connsiteY5" fmla="*/ 4267289 h 4267289"/>
              <a:gd name="connsiteX6" fmla="*/ 58201 w 2124552"/>
              <a:gd name="connsiteY6" fmla="*/ 4206416 h 4267289"/>
              <a:gd name="connsiteX7" fmla="*/ 6616 w 2124552"/>
              <a:gd name="connsiteY7" fmla="*/ 4037540 h 4267289"/>
              <a:gd name="connsiteX8" fmla="*/ 0 w 2124552"/>
              <a:gd name="connsiteY8" fmla="*/ 4029521 h 4267289"/>
              <a:gd name="connsiteX9" fmla="*/ 2124546 w 2124552"/>
              <a:gd name="connsiteY9" fmla="*/ 0 h 4267289"/>
              <a:gd name="connsiteX0" fmla="*/ 2124546 w 2124552"/>
              <a:gd name="connsiteY0" fmla="*/ 0 h 4214400"/>
              <a:gd name="connsiteX1" fmla="*/ 2120341 w 2124552"/>
              <a:gd name="connsiteY1" fmla="*/ 3735089 h 4214400"/>
              <a:gd name="connsiteX2" fmla="*/ 2120113 w 2124552"/>
              <a:gd name="connsiteY2" fmla="*/ 3963333 h 4214400"/>
              <a:gd name="connsiteX3" fmla="*/ 61596 w 2124552"/>
              <a:gd name="connsiteY3" fmla="*/ 4157950 h 4214400"/>
              <a:gd name="connsiteX4" fmla="*/ 66876 w 2124552"/>
              <a:gd name="connsiteY4" fmla="*/ 4184105 h 4214400"/>
              <a:gd name="connsiteX5" fmla="*/ 58201 w 2124552"/>
              <a:gd name="connsiteY5" fmla="*/ 4206416 h 4214400"/>
              <a:gd name="connsiteX6" fmla="*/ 6616 w 2124552"/>
              <a:gd name="connsiteY6" fmla="*/ 4037540 h 4214400"/>
              <a:gd name="connsiteX7" fmla="*/ 0 w 2124552"/>
              <a:gd name="connsiteY7" fmla="*/ 4029521 h 4214400"/>
              <a:gd name="connsiteX8" fmla="*/ 2124546 w 2124552"/>
              <a:gd name="connsiteY8" fmla="*/ 0 h 4214400"/>
              <a:gd name="connsiteX0" fmla="*/ 2124546 w 2124552"/>
              <a:gd name="connsiteY0" fmla="*/ 0 h 4184105"/>
              <a:gd name="connsiteX1" fmla="*/ 2120341 w 2124552"/>
              <a:gd name="connsiteY1" fmla="*/ 3735089 h 4184105"/>
              <a:gd name="connsiteX2" fmla="*/ 2120113 w 2124552"/>
              <a:gd name="connsiteY2" fmla="*/ 3963333 h 4184105"/>
              <a:gd name="connsiteX3" fmla="*/ 61596 w 2124552"/>
              <a:gd name="connsiteY3" fmla="*/ 4157950 h 4184105"/>
              <a:gd name="connsiteX4" fmla="*/ 66876 w 2124552"/>
              <a:gd name="connsiteY4" fmla="*/ 4184105 h 4184105"/>
              <a:gd name="connsiteX5" fmla="*/ 6616 w 2124552"/>
              <a:gd name="connsiteY5" fmla="*/ 4037540 h 4184105"/>
              <a:gd name="connsiteX6" fmla="*/ 0 w 2124552"/>
              <a:gd name="connsiteY6" fmla="*/ 4029521 h 4184105"/>
              <a:gd name="connsiteX7" fmla="*/ 2124546 w 2124552"/>
              <a:gd name="connsiteY7" fmla="*/ 0 h 4184105"/>
              <a:gd name="connsiteX0" fmla="*/ 2124546 w 2124552"/>
              <a:gd name="connsiteY0" fmla="*/ 0 h 4157950"/>
              <a:gd name="connsiteX1" fmla="*/ 2120341 w 2124552"/>
              <a:gd name="connsiteY1" fmla="*/ 3735089 h 4157950"/>
              <a:gd name="connsiteX2" fmla="*/ 2120113 w 2124552"/>
              <a:gd name="connsiteY2" fmla="*/ 3963333 h 4157950"/>
              <a:gd name="connsiteX3" fmla="*/ 61596 w 2124552"/>
              <a:gd name="connsiteY3" fmla="*/ 4157950 h 4157950"/>
              <a:gd name="connsiteX4" fmla="*/ 6616 w 2124552"/>
              <a:gd name="connsiteY4" fmla="*/ 4037540 h 4157950"/>
              <a:gd name="connsiteX5" fmla="*/ 0 w 2124552"/>
              <a:gd name="connsiteY5" fmla="*/ 4029521 h 4157950"/>
              <a:gd name="connsiteX6" fmla="*/ 2124546 w 2124552"/>
              <a:gd name="connsiteY6" fmla="*/ 0 h 415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552" h="4157950">
                <a:moveTo>
                  <a:pt x="2124546" y="0"/>
                </a:moveTo>
                <a:cubicBezTo>
                  <a:pt x="2124712" y="1431986"/>
                  <a:pt x="2121742" y="2490059"/>
                  <a:pt x="2120341" y="3735089"/>
                </a:cubicBezTo>
                <a:lnTo>
                  <a:pt x="2120113" y="3963333"/>
                </a:lnTo>
                <a:lnTo>
                  <a:pt x="61596" y="4157950"/>
                </a:lnTo>
                <a:lnTo>
                  <a:pt x="6616" y="4037540"/>
                </a:lnTo>
                <a:lnTo>
                  <a:pt x="0" y="4029521"/>
                </a:lnTo>
                <a:lnTo>
                  <a:pt x="2124546" y="0"/>
                </a:lnTo>
                <a:close/>
              </a:path>
            </a:pathLst>
          </a:custGeom>
          <a:solidFill>
            <a:schemeClr val="bg1">
              <a:alpha val="35000"/>
            </a:schemeClr>
          </a:solidFill>
          <a:ln>
            <a:solidFill>
              <a:schemeClr val="bg2"/>
            </a:solid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2BC8296-800A-4D1C-9495-65AB2F84627E}"/>
              </a:ext>
              <a:ext uri="{C183D7F6-B498-43B3-948B-1728B52AA6E4}">
                <adec:decorative xmlns:adec="http://schemas.microsoft.com/office/drawing/2017/decorative" val="1"/>
              </a:ext>
            </a:extLst>
          </p:cNvPr>
          <p:cNvGrpSpPr/>
          <p:nvPr userDrawn="1"/>
        </p:nvGrpSpPr>
        <p:grpSpPr>
          <a:xfrm>
            <a:off x="9962790" y="959275"/>
            <a:ext cx="1848156" cy="3465217"/>
            <a:chOff x="10172391" y="1176480"/>
            <a:chExt cx="1848418" cy="3465709"/>
          </a:xfrm>
        </p:grpSpPr>
        <p:sp>
          <p:nvSpPr>
            <p:cNvPr id="6" name="Freeform 102">
              <a:extLst>
                <a:ext uri="{FF2B5EF4-FFF2-40B4-BE49-F238E27FC236}">
                  <a16:creationId xmlns:a16="http://schemas.microsoft.com/office/drawing/2014/main" id="{9E514DAB-D3EB-4841-BCB8-C608185C21A6}"/>
                </a:ext>
              </a:extLst>
            </p:cNvPr>
            <p:cNvSpPr/>
            <p:nvPr/>
          </p:nvSpPr>
          <p:spPr bwMode="auto">
            <a:xfrm flipV="1">
              <a:off x="10236541" y="1176480"/>
              <a:ext cx="1784268" cy="3418002"/>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103">
              <a:extLst>
                <a:ext uri="{FF2B5EF4-FFF2-40B4-BE49-F238E27FC236}">
                  <a16:creationId xmlns:a16="http://schemas.microsoft.com/office/drawing/2014/main" id="{04026D58-A3E2-40D4-BD3D-49F6BEEA9AAD}"/>
                </a:ext>
              </a:extLst>
            </p:cNvPr>
            <p:cNvSpPr/>
            <p:nvPr/>
          </p:nvSpPr>
          <p:spPr bwMode="auto">
            <a:xfrm flipV="1">
              <a:off x="10172391" y="1501713"/>
              <a:ext cx="1593735" cy="3053011"/>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104">
              <a:extLst>
                <a:ext uri="{FF2B5EF4-FFF2-40B4-BE49-F238E27FC236}">
                  <a16:creationId xmlns:a16="http://schemas.microsoft.com/office/drawing/2014/main" id="{CD8009B3-4357-45C7-BB0E-F8B0B7606683}"/>
                </a:ext>
              </a:extLst>
            </p:cNvPr>
            <p:cNvSpPr/>
            <p:nvPr/>
          </p:nvSpPr>
          <p:spPr bwMode="auto">
            <a:xfrm flipV="1">
              <a:off x="10283708" y="1411745"/>
              <a:ext cx="1700922" cy="3230444"/>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9" name="Straight Connector 8">
            <a:extLst>
              <a:ext uri="{FF2B5EF4-FFF2-40B4-BE49-F238E27FC236}">
                <a16:creationId xmlns:a16="http://schemas.microsoft.com/office/drawing/2014/main" id="{0A6E9DAA-C74D-4FEC-B6E1-AE64EC93C27C}"/>
              </a:ext>
              <a:ext uri="{C183D7F6-B498-43B3-948B-1728B52AA6E4}">
                <adec:decorative xmlns:adec="http://schemas.microsoft.com/office/drawing/2017/decorative" val="1"/>
              </a:ext>
            </a:extLst>
          </p:cNvPr>
          <p:cNvCxnSpPr>
            <a:cxnSpLocks/>
          </p:cNvCxnSpPr>
          <p:nvPr userDrawn="1"/>
        </p:nvCxnSpPr>
        <p:spPr>
          <a:xfrm>
            <a:off x="9828706" y="2343351"/>
            <a:ext cx="0" cy="1944348"/>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B1E0C74E-95F3-4A12-931C-180E49D46DCE}"/>
              </a:ext>
              <a:ext uri="{C183D7F6-B498-43B3-948B-1728B52AA6E4}">
                <adec:decorative xmlns:adec="http://schemas.microsoft.com/office/drawing/2017/decorative" val="1"/>
              </a:ext>
            </a:extLst>
          </p:cNvPr>
          <p:cNvSpPr/>
          <p:nvPr userDrawn="1"/>
        </p:nvSpPr>
        <p:spPr bwMode="auto">
          <a:xfrm>
            <a:off x="9733805" y="22582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4E52A952-F7B1-40D4-95BB-E0367BAB0B60}"/>
              </a:ext>
              <a:ext uri="{C183D7F6-B498-43B3-948B-1728B52AA6E4}">
                <adec:decorative xmlns:adec="http://schemas.microsoft.com/office/drawing/2017/decorative" val="1"/>
              </a:ext>
            </a:extLst>
          </p:cNvPr>
          <p:cNvSpPr/>
          <p:nvPr userDrawn="1"/>
        </p:nvSpPr>
        <p:spPr bwMode="auto">
          <a:xfrm>
            <a:off x="9733805" y="282158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96067DFC-763A-475B-B4D2-37B0B50D0436}"/>
              </a:ext>
              <a:ext uri="{C183D7F6-B498-43B3-948B-1728B52AA6E4}">
                <adec:decorative xmlns:adec="http://schemas.microsoft.com/office/drawing/2017/decorative" val="1"/>
              </a:ext>
            </a:extLst>
          </p:cNvPr>
          <p:cNvSpPr/>
          <p:nvPr userDrawn="1"/>
        </p:nvSpPr>
        <p:spPr bwMode="auto">
          <a:xfrm>
            <a:off x="9733805" y="340595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078690A5-014C-4158-85D0-D6438120566D}"/>
              </a:ext>
              <a:ext uri="{C183D7F6-B498-43B3-948B-1728B52AA6E4}">
                <adec:decorative xmlns:adec="http://schemas.microsoft.com/office/drawing/2017/decorative" val="1"/>
              </a:ext>
            </a:extLst>
          </p:cNvPr>
          <p:cNvSpPr/>
          <p:nvPr userDrawn="1"/>
        </p:nvSpPr>
        <p:spPr bwMode="auto">
          <a:xfrm>
            <a:off x="655690" y="4380642"/>
            <a:ext cx="11567347" cy="1125538"/>
          </a:xfrm>
          <a:custGeom>
            <a:avLst/>
            <a:gdLst>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906407 h 1125697"/>
              <a:gd name="connsiteX5" fmla="*/ 9190469 w 11568987"/>
              <a:gd name="connsiteY5" fmla="*/ 1105538 h 1125697"/>
              <a:gd name="connsiteX6" fmla="*/ 42333 w 11568987"/>
              <a:gd name="connsiteY6" fmla="*/ 1125697 h 1125697"/>
              <a:gd name="connsiteX7" fmla="*/ 0 w 11568987"/>
              <a:gd name="connsiteY7" fmla="*/ 1091576 h 1125697"/>
              <a:gd name="connsiteX8" fmla="*/ 8907725 w 11568987"/>
              <a:gd name="connsiteY8" fmla="*/ 267416 h 1125697"/>
              <a:gd name="connsiteX9" fmla="*/ 8926633 w 11568987"/>
              <a:gd name="connsiteY9" fmla="*/ 361073 h 1125697"/>
              <a:gd name="connsiteX10" fmla="*/ 9115124 w 11568987"/>
              <a:gd name="connsiteY10" fmla="*/ 531970 h 1125697"/>
              <a:gd name="connsiteX11" fmla="*/ 9190469 w 11568987"/>
              <a:gd name="connsiteY11" fmla="*/ 543361 h 1125697"/>
              <a:gd name="connsiteX12" fmla="*/ 9190469 w 11568987"/>
              <a:gd name="connsiteY12" fmla="*/ 716581 h 1125697"/>
              <a:gd name="connsiteX13" fmla="*/ 9191698 w 11568987"/>
              <a:gd name="connsiteY13" fmla="*/ 716468 h 1125697"/>
              <a:gd name="connsiteX14" fmla="*/ 9191698 w 11568987"/>
              <a:gd name="connsiteY14" fmla="*/ 521467 h 1125697"/>
              <a:gd name="connsiteX15" fmla="*/ 9209265 w 11568987"/>
              <a:gd name="connsiteY15" fmla="*/ 523238 h 1125697"/>
              <a:gd name="connsiteX16" fmla="*/ 9511311 w 11568987"/>
              <a:gd name="connsiteY16" fmla="*/ 221192 h 1125697"/>
              <a:gd name="connsiteX17" fmla="*/ 9506031 w 11568987"/>
              <a:gd name="connsiteY17" fmla="*/ 195037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1105538 h 1125697"/>
              <a:gd name="connsiteX5" fmla="*/ 42333 w 11568987"/>
              <a:gd name="connsiteY5" fmla="*/ 1125697 h 1125697"/>
              <a:gd name="connsiteX6" fmla="*/ 0 w 11568987"/>
              <a:gd name="connsiteY6" fmla="*/ 1091576 h 1125697"/>
              <a:gd name="connsiteX7" fmla="*/ 8907725 w 11568987"/>
              <a:gd name="connsiteY7" fmla="*/ 267416 h 1125697"/>
              <a:gd name="connsiteX8" fmla="*/ 8926633 w 11568987"/>
              <a:gd name="connsiteY8" fmla="*/ 361073 h 1125697"/>
              <a:gd name="connsiteX9" fmla="*/ 9115124 w 11568987"/>
              <a:gd name="connsiteY9" fmla="*/ 531970 h 1125697"/>
              <a:gd name="connsiteX10" fmla="*/ 9190469 w 11568987"/>
              <a:gd name="connsiteY10" fmla="*/ 543361 h 1125697"/>
              <a:gd name="connsiteX11" fmla="*/ 9190469 w 11568987"/>
              <a:gd name="connsiteY11" fmla="*/ 716581 h 1125697"/>
              <a:gd name="connsiteX12" fmla="*/ 9191698 w 11568987"/>
              <a:gd name="connsiteY12" fmla="*/ 716468 h 1125697"/>
              <a:gd name="connsiteX13" fmla="*/ 9191698 w 11568987"/>
              <a:gd name="connsiteY13" fmla="*/ 521467 h 1125697"/>
              <a:gd name="connsiteX14" fmla="*/ 9209265 w 11568987"/>
              <a:gd name="connsiteY14" fmla="*/ 523238 h 1125697"/>
              <a:gd name="connsiteX15" fmla="*/ 9511311 w 11568987"/>
              <a:gd name="connsiteY15" fmla="*/ 221192 h 1125697"/>
              <a:gd name="connsiteX16" fmla="*/ 9506031 w 11568987"/>
              <a:gd name="connsiteY16" fmla="*/ 195037 h 1125697"/>
              <a:gd name="connsiteX17" fmla="*/ 11568987 w 11568987"/>
              <a:gd name="connsiteY17"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0469 w 11568987"/>
              <a:gd name="connsiteY3" fmla="*/ 1105538 h 1125697"/>
              <a:gd name="connsiteX4" fmla="*/ 42333 w 11568987"/>
              <a:gd name="connsiteY4" fmla="*/ 1125697 h 1125697"/>
              <a:gd name="connsiteX5" fmla="*/ 0 w 11568987"/>
              <a:gd name="connsiteY5" fmla="*/ 1091576 h 1125697"/>
              <a:gd name="connsiteX6" fmla="*/ 8907725 w 11568987"/>
              <a:gd name="connsiteY6" fmla="*/ 267416 h 1125697"/>
              <a:gd name="connsiteX7" fmla="*/ 8926633 w 11568987"/>
              <a:gd name="connsiteY7" fmla="*/ 361073 h 1125697"/>
              <a:gd name="connsiteX8" fmla="*/ 9115124 w 11568987"/>
              <a:gd name="connsiteY8" fmla="*/ 531970 h 1125697"/>
              <a:gd name="connsiteX9" fmla="*/ 9190469 w 11568987"/>
              <a:gd name="connsiteY9" fmla="*/ 543361 h 1125697"/>
              <a:gd name="connsiteX10" fmla="*/ 9190469 w 11568987"/>
              <a:gd name="connsiteY10" fmla="*/ 716581 h 1125697"/>
              <a:gd name="connsiteX11" fmla="*/ 9191698 w 11568987"/>
              <a:gd name="connsiteY11" fmla="*/ 716468 h 1125697"/>
              <a:gd name="connsiteX12" fmla="*/ 9191698 w 11568987"/>
              <a:gd name="connsiteY12" fmla="*/ 521467 h 1125697"/>
              <a:gd name="connsiteX13" fmla="*/ 9209265 w 11568987"/>
              <a:gd name="connsiteY13" fmla="*/ 523238 h 1125697"/>
              <a:gd name="connsiteX14" fmla="*/ 9511311 w 11568987"/>
              <a:gd name="connsiteY14" fmla="*/ 221192 h 1125697"/>
              <a:gd name="connsiteX15" fmla="*/ 9506031 w 11568987"/>
              <a:gd name="connsiteY15" fmla="*/ 195037 h 1125697"/>
              <a:gd name="connsiteX16" fmla="*/ 11568987 w 11568987"/>
              <a:gd name="connsiteY16"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42333 w 11568987"/>
              <a:gd name="connsiteY3" fmla="*/ 1125697 h 1125697"/>
              <a:gd name="connsiteX4" fmla="*/ 0 w 11568987"/>
              <a:gd name="connsiteY4" fmla="*/ 1091576 h 1125697"/>
              <a:gd name="connsiteX5" fmla="*/ 8907725 w 11568987"/>
              <a:gd name="connsiteY5" fmla="*/ 267416 h 1125697"/>
              <a:gd name="connsiteX6" fmla="*/ 8926633 w 11568987"/>
              <a:gd name="connsiteY6" fmla="*/ 361073 h 1125697"/>
              <a:gd name="connsiteX7" fmla="*/ 9115124 w 11568987"/>
              <a:gd name="connsiteY7" fmla="*/ 531970 h 1125697"/>
              <a:gd name="connsiteX8" fmla="*/ 9190469 w 11568987"/>
              <a:gd name="connsiteY8" fmla="*/ 543361 h 1125697"/>
              <a:gd name="connsiteX9" fmla="*/ 9190469 w 11568987"/>
              <a:gd name="connsiteY9" fmla="*/ 716581 h 1125697"/>
              <a:gd name="connsiteX10" fmla="*/ 9191698 w 11568987"/>
              <a:gd name="connsiteY10" fmla="*/ 716468 h 1125697"/>
              <a:gd name="connsiteX11" fmla="*/ 9191698 w 11568987"/>
              <a:gd name="connsiteY11" fmla="*/ 521467 h 1125697"/>
              <a:gd name="connsiteX12" fmla="*/ 9209265 w 11568987"/>
              <a:gd name="connsiteY12" fmla="*/ 523238 h 1125697"/>
              <a:gd name="connsiteX13" fmla="*/ 9511311 w 11568987"/>
              <a:gd name="connsiteY13" fmla="*/ 221192 h 1125697"/>
              <a:gd name="connsiteX14" fmla="*/ 9506031 w 11568987"/>
              <a:gd name="connsiteY14" fmla="*/ 195037 h 1125697"/>
              <a:gd name="connsiteX15" fmla="*/ 11568987 w 11568987"/>
              <a:gd name="connsiteY15"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716468 h 1125697"/>
              <a:gd name="connsiteX10" fmla="*/ 9191698 w 11568987"/>
              <a:gd name="connsiteY10" fmla="*/ 521467 h 1125697"/>
              <a:gd name="connsiteX11" fmla="*/ 9209265 w 11568987"/>
              <a:gd name="connsiteY11" fmla="*/ 523238 h 1125697"/>
              <a:gd name="connsiteX12" fmla="*/ 9511311 w 11568987"/>
              <a:gd name="connsiteY12" fmla="*/ 221192 h 1125697"/>
              <a:gd name="connsiteX13" fmla="*/ 9506031 w 11568987"/>
              <a:gd name="connsiteY13" fmla="*/ 195037 h 1125697"/>
              <a:gd name="connsiteX14" fmla="*/ 11568987 w 11568987"/>
              <a:gd name="connsiteY14"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521467 h 1125697"/>
              <a:gd name="connsiteX10" fmla="*/ 9209265 w 11568987"/>
              <a:gd name="connsiteY10" fmla="*/ 523238 h 1125697"/>
              <a:gd name="connsiteX11" fmla="*/ 9511311 w 11568987"/>
              <a:gd name="connsiteY11" fmla="*/ 221192 h 1125697"/>
              <a:gd name="connsiteX12" fmla="*/ 9506031 w 11568987"/>
              <a:gd name="connsiteY12" fmla="*/ 195037 h 1125697"/>
              <a:gd name="connsiteX13" fmla="*/ 11568987 w 11568987"/>
              <a:gd name="connsiteY13"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1698 w 11568987"/>
              <a:gd name="connsiteY8" fmla="*/ 521467 h 1125697"/>
              <a:gd name="connsiteX9" fmla="*/ 9209265 w 11568987"/>
              <a:gd name="connsiteY9" fmla="*/ 523238 h 1125697"/>
              <a:gd name="connsiteX10" fmla="*/ 9511311 w 11568987"/>
              <a:gd name="connsiteY10" fmla="*/ 221192 h 1125697"/>
              <a:gd name="connsiteX11" fmla="*/ 9506031 w 11568987"/>
              <a:gd name="connsiteY11" fmla="*/ 195037 h 1125697"/>
              <a:gd name="connsiteX12" fmla="*/ 11568987 w 11568987"/>
              <a:gd name="connsiteY12" fmla="*/ 0 h 11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8987" h="1125697">
                <a:moveTo>
                  <a:pt x="11568987" y="0"/>
                </a:moveTo>
                <a:lnTo>
                  <a:pt x="11568987" y="1105538"/>
                </a:lnTo>
                <a:lnTo>
                  <a:pt x="42333" y="1125697"/>
                </a:lnTo>
                <a:lnTo>
                  <a:pt x="0" y="1091576"/>
                </a:lnTo>
                <a:lnTo>
                  <a:pt x="8907725" y="267416"/>
                </a:lnTo>
                <a:lnTo>
                  <a:pt x="8926633" y="361073"/>
                </a:lnTo>
                <a:cubicBezTo>
                  <a:pt x="8961023" y="442380"/>
                  <a:pt x="9030002" y="505494"/>
                  <a:pt x="9115124" y="531970"/>
                </a:cubicBezTo>
                <a:lnTo>
                  <a:pt x="9190469" y="543361"/>
                </a:lnTo>
                <a:cubicBezTo>
                  <a:pt x="9190879" y="536063"/>
                  <a:pt x="9191288" y="528765"/>
                  <a:pt x="9191698" y="521467"/>
                </a:cubicBezTo>
                <a:lnTo>
                  <a:pt x="9209265" y="523238"/>
                </a:lnTo>
                <a:cubicBezTo>
                  <a:pt x="9376080" y="523238"/>
                  <a:pt x="9511311" y="388007"/>
                  <a:pt x="9511311" y="221192"/>
                </a:cubicBezTo>
                <a:lnTo>
                  <a:pt x="9506031" y="195037"/>
                </a:lnTo>
                <a:lnTo>
                  <a:pt x="11568987" y="0"/>
                </a:lnTo>
                <a:close/>
              </a:path>
            </a:pathLst>
          </a:custGeom>
          <a:solidFill>
            <a:schemeClr val="bg1">
              <a:alpha val="35000"/>
            </a:schemeClr>
          </a:solidFill>
          <a:ln>
            <a:no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CB7113C0-5254-448D-B4B3-067558DACE5F}"/>
              </a:ext>
              <a:ext uri="{C183D7F6-B498-43B3-948B-1728B52AA6E4}">
                <adec:decorative xmlns:adec="http://schemas.microsoft.com/office/drawing/2017/decorative" val="1"/>
              </a:ext>
            </a:extLst>
          </p:cNvPr>
          <p:cNvSpPr/>
          <p:nvPr userDrawn="1"/>
        </p:nvSpPr>
        <p:spPr bwMode="auto">
          <a:xfrm>
            <a:off x="-13990" y="5485143"/>
            <a:ext cx="12190271" cy="139190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99AC0CA1-E339-4C6A-8E4A-873C4AC8361A}"/>
              </a:ext>
              <a:ext uri="{C183D7F6-B498-43B3-948B-1728B52AA6E4}">
                <adec:decorative xmlns:adec="http://schemas.microsoft.com/office/drawing/2017/decorative" val="1"/>
              </a:ext>
            </a:extLst>
          </p:cNvPr>
          <p:cNvCxnSpPr/>
          <p:nvPr userDrawn="1"/>
        </p:nvCxnSpPr>
        <p:spPr>
          <a:xfrm flipV="1">
            <a:off x="865" y="5467208"/>
            <a:ext cx="11922963" cy="13222"/>
          </a:xfrm>
          <a:prstGeom prst="straightConnector1">
            <a:avLst/>
          </a:prstGeom>
          <a:ln w="19050">
            <a:solidFill>
              <a:schemeClr val="bg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D208F1AB-1DF0-4EEA-A1B7-B3AC6A509DFB}"/>
              </a:ext>
              <a:ext uri="{C183D7F6-B498-43B3-948B-1728B52AA6E4}">
                <adec:decorative xmlns:adec="http://schemas.microsoft.com/office/drawing/2017/decorative" val="1"/>
              </a:ext>
            </a:extLst>
          </p:cNvPr>
          <p:cNvSpPr/>
          <p:nvPr userDrawn="1"/>
        </p:nvSpPr>
        <p:spPr bwMode="auto">
          <a:xfrm>
            <a:off x="9733805"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8F3E819F-7E92-4E75-8ADE-B602FEB3A69C}"/>
              </a:ext>
              <a:ext uri="{C183D7F6-B498-43B3-948B-1728B52AA6E4}">
                <adec:decorative xmlns:adec="http://schemas.microsoft.com/office/drawing/2017/decorative" val="1"/>
              </a:ext>
            </a:extLst>
          </p:cNvPr>
          <p:cNvCxnSpPr/>
          <p:nvPr userDrawn="1"/>
        </p:nvCxnSpPr>
        <p:spPr>
          <a:xfrm>
            <a:off x="2685497" y="5657899"/>
            <a:ext cx="0" cy="365708"/>
          </a:xfrm>
          <a:prstGeom prst="line">
            <a:avLst/>
          </a:prstGeom>
          <a:noFill/>
          <a:ln w="19050" cap="flat" cmpd="sng" algn="ctr">
            <a:solidFill>
              <a:schemeClr val="bg2"/>
            </a:solidFill>
            <a:prstDash val="solid"/>
            <a:headEnd type="none"/>
            <a:tailEnd type="none"/>
          </a:ln>
          <a:effectLst/>
        </p:spPr>
      </p:cxnSp>
      <p:cxnSp>
        <p:nvCxnSpPr>
          <p:cNvPr id="18" name="Straight Connector 17">
            <a:extLst>
              <a:ext uri="{FF2B5EF4-FFF2-40B4-BE49-F238E27FC236}">
                <a16:creationId xmlns:a16="http://schemas.microsoft.com/office/drawing/2014/main" id="{C8D6B3D4-6C58-4573-A957-44DE42705BF2}"/>
              </a:ext>
              <a:ext uri="{C183D7F6-B498-43B3-948B-1728B52AA6E4}">
                <adec:decorative xmlns:adec="http://schemas.microsoft.com/office/drawing/2017/decorative" val="1"/>
              </a:ext>
            </a:extLst>
          </p:cNvPr>
          <p:cNvCxnSpPr/>
          <p:nvPr userDrawn="1"/>
        </p:nvCxnSpPr>
        <p:spPr>
          <a:xfrm>
            <a:off x="9831411" y="5657899"/>
            <a:ext cx="0" cy="365708"/>
          </a:xfrm>
          <a:prstGeom prst="line">
            <a:avLst/>
          </a:prstGeom>
          <a:noFill/>
          <a:ln w="19050" cap="flat" cmpd="sng" algn="ctr">
            <a:solidFill>
              <a:schemeClr val="bg2"/>
            </a:solidFill>
            <a:prstDash val="solid"/>
            <a:headEnd type="none"/>
            <a:tailEnd type="none"/>
          </a:ln>
          <a:effectLst/>
        </p:spPr>
      </p:cxnSp>
      <p:sp>
        <p:nvSpPr>
          <p:cNvPr id="19" name="Oval 18">
            <a:extLst>
              <a:ext uri="{FF2B5EF4-FFF2-40B4-BE49-F238E27FC236}">
                <a16:creationId xmlns:a16="http://schemas.microsoft.com/office/drawing/2014/main" id="{6ABBC32E-233A-4AAF-8C23-24093848D82D}"/>
              </a:ext>
              <a:ext uri="{C183D7F6-B498-43B3-948B-1728B52AA6E4}">
                <adec:decorative xmlns:adec="http://schemas.microsoft.com/office/drawing/2017/decorative" val="1"/>
              </a:ext>
            </a:extLst>
          </p:cNvPr>
          <p:cNvSpPr/>
          <p:nvPr userDrawn="1"/>
        </p:nvSpPr>
        <p:spPr bwMode="auto">
          <a:xfrm>
            <a:off x="2586824"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9CD2C44-267E-41EE-BD98-0FC88AC83D17}"/>
              </a:ext>
              <a:ext uri="{C183D7F6-B498-43B3-948B-1728B52AA6E4}">
                <adec:decorative xmlns:adec="http://schemas.microsoft.com/office/drawing/2017/decorative" val="1"/>
              </a:ext>
            </a:extLst>
          </p:cNvPr>
          <p:cNvCxnSpPr/>
          <p:nvPr userDrawn="1"/>
        </p:nvCxnSpPr>
        <p:spPr>
          <a:xfrm flipV="1">
            <a:off x="583881" y="4632438"/>
            <a:ext cx="8947598" cy="841057"/>
          </a:xfrm>
          <a:prstGeom prst="straightConnector1">
            <a:avLst/>
          </a:prstGeom>
          <a:ln w="1905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6A2523E-DB8F-400E-BE0E-6AD1D98D4623}"/>
              </a:ext>
              <a:ext uri="{C183D7F6-B498-43B3-948B-1728B52AA6E4}">
                <adec:decorative xmlns:adec="http://schemas.microsoft.com/office/drawing/2017/decorative" val="1"/>
              </a:ext>
            </a:extLst>
          </p:cNvPr>
          <p:cNvSpPr/>
          <p:nvPr userDrawn="1"/>
        </p:nvSpPr>
        <p:spPr bwMode="auto">
          <a:xfrm>
            <a:off x="9529746" y="4304376"/>
            <a:ext cx="604005" cy="604005"/>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14658AA5-3A2F-4634-BDA8-2BEAA95FA277}"/>
              </a:ext>
              <a:ext uri="{C183D7F6-B498-43B3-948B-1728B52AA6E4}">
                <adec:decorative xmlns:adec="http://schemas.microsoft.com/office/drawing/2017/decorative" val="1"/>
              </a:ext>
            </a:extLst>
          </p:cNvPr>
          <p:cNvCxnSpPr/>
          <p:nvPr userDrawn="1"/>
        </p:nvCxnSpPr>
        <p:spPr>
          <a:xfrm>
            <a:off x="6274913" y="5657899"/>
            <a:ext cx="0" cy="365708"/>
          </a:xfrm>
          <a:prstGeom prst="line">
            <a:avLst/>
          </a:prstGeom>
          <a:noFill/>
          <a:ln w="19050" cap="flat" cmpd="sng" algn="ctr">
            <a:solidFill>
              <a:schemeClr val="bg2"/>
            </a:solidFill>
            <a:prstDash val="solid"/>
            <a:headEnd type="none"/>
            <a:tailEnd type="none"/>
          </a:ln>
          <a:effectLst/>
        </p:spPr>
      </p:cxnSp>
      <p:sp>
        <p:nvSpPr>
          <p:cNvPr id="23" name="Oval 22">
            <a:extLst>
              <a:ext uri="{FF2B5EF4-FFF2-40B4-BE49-F238E27FC236}">
                <a16:creationId xmlns:a16="http://schemas.microsoft.com/office/drawing/2014/main" id="{7633269F-9CFB-4C32-A579-121F1BC7FEE3}"/>
              </a:ext>
              <a:ext uri="{C183D7F6-B498-43B3-948B-1728B52AA6E4}">
                <adec:decorative xmlns:adec="http://schemas.microsoft.com/office/drawing/2017/decorative" val="1"/>
              </a:ext>
            </a:extLst>
          </p:cNvPr>
          <p:cNvSpPr/>
          <p:nvPr userDrawn="1"/>
        </p:nvSpPr>
        <p:spPr bwMode="auto">
          <a:xfrm>
            <a:off x="6176240"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E6BCF4BD-296B-404E-A0DC-A95DC9E7F5B0}"/>
              </a:ext>
              <a:ext uri="{C183D7F6-B498-43B3-948B-1728B52AA6E4}">
                <adec:decorative xmlns:adec="http://schemas.microsoft.com/office/drawing/2017/decorative" val="1"/>
              </a:ext>
            </a:extLst>
          </p:cNvPr>
          <p:cNvGrpSpPr/>
          <p:nvPr userDrawn="1"/>
        </p:nvGrpSpPr>
        <p:grpSpPr>
          <a:xfrm>
            <a:off x="9526335" y="4300526"/>
            <a:ext cx="617942" cy="617942"/>
            <a:chOff x="2750671" y="2758885"/>
            <a:chExt cx="617942" cy="617942"/>
          </a:xfrm>
        </p:grpSpPr>
        <p:sp>
          <p:nvSpPr>
            <p:cNvPr id="25" name="Oval 24">
              <a:extLst>
                <a:ext uri="{FF2B5EF4-FFF2-40B4-BE49-F238E27FC236}">
                  <a16:creationId xmlns:a16="http://schemas.microsoft.com/office/drawing/2014/main" id="{DD46AADA-6133-4A00-92E7-D6C9C6CBBADE}"/>
                </a:ext>
              </a:extLst>
            </p:cNvPr>
            <p:cNvSpPr/>
            <p:nvPr/>
          </p:nvSpPr>
          <p:spPr bwMode="auto">
            <a:xfrm>
              <a:off x="2750671" y="2758885"/>
              <a:ext cx="617942" cy="617942"/>
            </a:xfrm>
            <a:prstGeom prst="ellipse">
              <a:avLst/>
            </a:prstGeom>
            <a:solidFill>
              <a:srgbClr val="000C47"/>
            </a:solidFill>
            <a:ln w="539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6" name="Freeform 5">
              <a:extLst>
                <a:ext uri="{FF2B5EF4-FFF2-40B4-BE49-F238E27FC236}">
                  <a16:creationId xmlns:a16="http://schemas.microsoft.com/office/drawing/2014/main" id="{B049B63A-5A58-429F-B2C4-59E4CFDCE2AE}"/>
                </a:ext>
              </a:extLst>
            </p:cNvPr>
            <p:cNvSpPr>
              <a:spLocks/>
            </p:cNvSpPr>
            <p:nvPr/>
          </p:nvSpPr>
          <p:spPr bwMode="auto">
            <a:xfrm>
              <a:off x="3067502" y="2876550"/>
              <a:ext cx="188647" cy="226922"/>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40" y="0"/>
                    <a:pt x="17" y="22"/>
                    <a:pt x="17" y="49"/>
                  </a:cubicBezTo>
                  <a:cubicBezTo>
                    <a:pt x="17" y="71"/>
                    <a:pt x="31" y="89"/>
                    <a:pt x="50" y="96"/>
                  </a:cubicBezTo>
                  <a:cubicBezTo>
                    <a:pt x="22" y="103"/>
                    <a:pt x="0" y="129"/>
                    <a:pt x="0" y="160"/>
                  </a:cubicBezTo>
                  <a:close/>
                </a:path>
              </a:pathLst>
            </a:custGeom>
            <a:solidFill>
              <a:srgbClr val="6C8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7" name="Freeform 6">
              <a:extLst>
                <a:ext uri="{FF2B5EF4-FFF2-40B4-BE49-F238E27FC236}">
                  <a16:creationId xmlns:a16="http://schemas.microsoft.com/office/drawing/2014/main" id="{BF8376BA-C4E3-4B2E-BE41-ECDB997C4E77}"/>
                </a:ext>
              </a:extLst>
            </p:cNvPr>
            <p:cNvSpPr>
              <a:spLocks/>
            </p:cNvSpPr>
            <p:nvPr/>
          </p:nvSpPr>
          <p:spPr bwMode="auto">
            <a:xfrm>
              <a:off x="2863135" y="2927129"/>
              <a:ext cx="146953" cy="176343"/>
            </a:xfrm>
            <a:custGeom>
              <a:avLst/>
              <a:gdLst>
                <a:gd name="T0" fmla="*/ 0 w 121"/>
                <a:gd name="T1" fmla="*/ 145 h 145"/>
                <a:gd name="T2" fmla="*/ 121 w 121"/>
                <a:gd name="T3" fmla="*/ 145 h 145"/>
                <a:gd name="T4" fmla="*/ 75 w 121"/>
                <a:gd name="T5" fmla="*/ 87 h 145"/>
                <a:gd name="T6" fmla="*/ 105 w 121"/>
                <a:gd name="T7" fmla="*/ 44 h 145"/>
                <a:gd name="T8" fmla="*/ 61 w 121"/>
                <a:gd name="T9" fmla="*/ 0 h 145"/>
                <a:gd name="T10" fmla="*/ 16 w 121"/>
                <a:gd name="T11" fmla="*/ 44 h 145"/>
                <a:gd name="T12" fmla="*/ 46 w 121"/>
                <a:gd name="T13" fmla="*/ 87 h 145"/>
                <a:gd name="T14" fmla="*/ 0 w 121"/>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45">
                  <a:moveTo>
                    <a:pt x="0" y="145"/>
                  </a:moveTo>
                  <a:cubicBezTo>
                    <a:pt x="121" y="145"/>
                    <a:pt x="121" y="145"/>
                    <a:pt x="121" y="145"/>
                  </a:cubicBezTo>
                  <a:cubicBezTo>
                    <a:pt x="121" y="117"/>
                    <a:pt x="101" y="93"/>
                    <a:pt x="75" y="87"/>
                  </a:cubicBezTo>
                  <a:cubicBezTo>
                    <a:pt x="93" y="81"/>
                    <a:pt x="105" y="64"/>
                    <a:pt x="105" y="44"/>
                  </a:cubicBezTo>
                  <a:cubicBezTo>
                    <a:pt x="105" y="20"/>
                    <a:pt x="85" y="0"/>
                    <a:pt x="61" y="0"/>
                  </a:cubicBezTo>
                  <a:cubicBezTo>
                    <a:pt x="36" y="0"/>
                    <a:pt x="16" y="20"/>
                    <a:pt x="16" y="44"/>
                  </a:cubicBezTo>
                  <a:cubicBezTo>
                    <a:pt x="16" y="64"/>
                    <a:pt x="28" y="81"/>
                    <a:pt x="46" y="87"/>
                  </a:cubicBezTo>
                  <a:cubicBezTo>
                    <a:pt x="20" y="93"/>
                    <a:pt x="0" y="117"/>
                    <a:pt x="0" y="145"/>
                  </a:cubicBezTo>
                  <a:close/>
                </a:path>
              </a:pathLst>
            </a:custGeom>
            <a:solidFill>
              <a:srgbClr val="B6C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28" name="Oval 27">
              <a:extLst>
                <a:ext uri="{FF2B5EF4-FFF2-40B4-BE49-F238E27FC236}">
                  <a16:creationId xmlns:a16="http://schemas.microsoft.com/office/drawing/2014/main" id="{C4EBC8E1-0A42-4AA5-A74A-F89615627A58}"/>
                </a:ext>
              </a:extLst>
            </p:cNvPr>
            <p:cNvSpPr/>
            <p:nvPr/>
          </p:nvSpPr>
          <p:spPr bwMode="auto">
            <a:xfrm>
              <a:off x="2750671" y="2758885"/>
              <a:ext cx="617942" cy="617942"/>
            </a:xfrm>
            <a:prstGeom prst="ellipse">
              <a:avLst/>
            </a:prstGeom>
            <a:noFill/>
            <a:ln w="317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9" name="Freeform 7">
              <a:extLst>
                <a:ext uri="{FF2B5EF4-FFF2-40B4-BE49-F238E27FC236}">
                  <a16:creationId xmlns:a16="http://schemas.microsoft.com/office/drawing/2014/main" id="{73A947A0-7331-47EB-92BC-2B0CB790271C}"/>
                </a:ext>
              </a:extLst>
            </p:cNvPr>
            <p:cNvSpPr>
              <a:spLocks/>
            </p:cNvSpPr>
            <p:nvPr/>
          </p:nvSpPr>
          <p:spPr bwMode="auto">
            <a:xfrm>
              <a:off x="2936270" y="2996163"/>
              <a:ext cx="235125" cy="282969"/>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39" y="0"/>
                    <a:pt x="17" y="22"/>
                    <a:pt x="17" y="49"/>
                  </a:cubicBezTo>
                  <a:cubicBezTo>
                    <a:pt x="17" y="71"/>
                    <a:pt x="31" y="89"/>
                    <a:pt x="50" y="96"/>
                  </a:cubicBezTo>
                  <a:cubicBezTo>
                    <a:pt x="21" y="103"/>
                    <a:pt x="0" y="129"/>
                    <a:pt x="0" y="16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grpSp>
      <p:grpSp>
        <p:nvGrpSpPr>
          <p:cNvPr id="30" name="Group 29" descr="Icon of a person with one arm" title="One Arm">
            <a:extLst>
              <a:ext uri="{FF2B5EF4-FFF2-40B4-BE49-F238E27FC236}">
                <a16:creationId xmlns:a16="http://schemas.microsoft.com/office/drawing/2014/main" id="{D1AE60BE-1407-4D68-9AD0-0703C560698E}"/>
              </a:ext>
            </a:extLst>
          </p:cNvPr>
          <p:cNvGrpSpPr>
            <a:grpSpLocks noChangeAspect="1"/>
          </p:cNvGrpSpPr>
          <p:nvPr userDrawn="1"/>
        </p:nvGrpSpPr>
        <p:grpSpPr>
          <a:xfrm>
            <a:off x="1472381" y="5694330"/>
            <a:ext cx="371735" cy="914400"/>
            <a:chOff x="2460424" y="1681878"/>
            <a:chExt cx="927100" cy="2277610"/>
          </a:xfrm>
          <a:solidFill>
            <a:schemeClr val="bg1"/>
          </a:solidFill>
        </p:grpSpPr>
        <p:sp>
          <p:nvSpPr>
            <p:cNvPr id="31" name="object 11">
              <a:extLst>
                <a:ext uri="{FF2B5EF4-FFF2-40B4-BE49-F238E27FC236}">
                  <a16:creationId xmlns:a16="http://schemas.microsoft.com/office/drawing/2014/main" id="{4F69F728-6C07-497D-A926-30EA5D21850D}"/>
                </a:ext>
              </a:extLst>
            </p:cNvPr>
            <p:cNvSpPr/>
            <p:nvPr/>
          </p:nvSpPr>
          <p:spPr>
            <a:xfrm>
              <a:off x="2460424" y="1681878"/>
              <a:ext cx="927100" cy="1621790"/>
            </a:xfrm>
            <a:custGeom>
              <a:avLst/>
              <a:gdLst/>
              <a:ahLst/>
              <a:cxnLst/>
              <a:rect l="l" t="t" r="r" b="b"/>
              <a:pathLst>
                <a:path w="927100" h="1621789">
                  <a:moveTo>
                    <a:pt x="482531" y="0"/>
                  </a:moveTo>
                  <a:lnTo>
                    <a:pt x="434669" y="2467"/>
                  </a:lnTo>
                  <a:lnTo>
                    <a:pt x="388551" y="10502"/>
                  </a:lnTo>
                  <a:lnTo>
                    <a:pt x="344514" y="23781"/>
                  </a:lnTo>
                  <a:lnTo>
                    <a:pt x="302898" y="41980"/>
                  </a:lnTo>
                  <a:lnTo>
                    <a:pt x="264039" y="64775"/>
                  </a:lnTo>
                  <a:lnTo>
                    <a:pt x="228276" y="91841"/>
                  </a:lnTo>
                  <a:lnTo>
                    <a:pt x="195947" y="122855"/>
                  </a:lnTo>
                  <a:lnTo>
                    <a:pt x="167389" y="157492"/>
                  </a:lnTo>
                  <a:lnTo>
                    <a:pt x="142942" y="195428"/>
                  </a:lnTo>
                  <a:lnTo>
                    <a:pt x="122942" y="236340"/>
                  </a:lnTo>
                  <a:lnTo>
                    <a:pt x="107728" y="279903"/>
                  </a:lnTo>
                  <a:lnTo>
                    <a:pt x="97638" y="325792"/>
                  </a:lnTo>
                  <a:lnTo>
                    <a:pt x="93010" y="373684"/>
                  </a:lnTo>
                  <a:lnTo>
                    <a:pt x="90632" y="412950"/>
                  </a:lnTo>
                  <a:lnTo>
                    <a:pt x="83280" y="434870"/>
                  </a:lnTo>
                  <a:lnTo>
                    <a:pt x="65047" y="447394"/>
                  </a:lnTo>
                  <a:lnTo>
                    <a:pt x="30030" y="458469"/>
                  </a:lnTo>
                  <a:lnTo>
                    <a:pt x="30667" y="509689"/>
                  </a:lnTo>
                  <a:lnTo>
                    <a:pt x="42062" y="558022"/>
                  </a:lnTo>
                  <a:lnTo>
                    <a:pt x="63115" y="601956"/>
                  </a:lnTo>
                  <a:lnTo>
                    <a:pt x="92685" y="639814"/>
                  </a:lnTo>
                  <a:lnTo>
                    <a:pt x="129643" y="669958"/>
                  </a:lnTo>
                  <a:lnTo>
                    <a:pt x="172859" y="690751"/>
                  </a:lnTo>
                  <a:lnTo>
                    <a:pt x="221203" y="700557"/>
                  </a:lnTo>
                  <a:lnTo>
                    <a:pt x="253925" y="707931"/>
                  </a:lnTo>
                  <a:lnTo>
                    <a:pt x="281274" y="722510"/>
                  </a:lnTo>
                  <a:lnTo>
                    <a:pt x="333649" y="760590"/>
                  </a:lnTo>
                  <a:lnTo>
                    <a:pt x="305608" y="773226"/>
                  </a:lnTo>
                  <a:lnTo>
                    <a:pt x="256917" y="796978"/>
                  </a:lnTo>
                  <a:lnTo>
                    <a:pt x="212210" y="823630"/>
                  </a:lnTo>
                  <a:lnTo>
                    <a:pt x="171572" y="853215"/>
                  </a:lnTo>
                  <a:lnTo>
                    <a:pt x="135091" y="885765"/>
                  </a:lnTo>
                  <a:lnTo>
                    <a:pt x="102854" y="921313"/>
                  </a:lnTo>
                  <a:lnTo>
                    <a:pt x="74950" y="959892"/>
                  </a:lnTo>
                  <a:lnTo>
                    <a:pt x="51464" y="1001535"/>
                  </a:lnTo>
                  <a:lnTo>
                    <a:pt x="32485" y="1046275"/>
                  </a:lnTo>
                  <a:lnTo>
                    <a:pt x="18100" y="1094144"/>
                  </a:lnTo>
                  <a:lnTo>
                    <a:pt x="8397" y="1145175"/>
                  </a:lnTo>
                  <a:lnTo>
                    <a:pt x="3462" y="1199400"/>
                  </a:lnTo>
                  <a:lnTo>
                    <a:pt x="1616" y="1249884"/>
                  </a:lnTo>
                  <a:lnTo>
                    <a:pt x="533" y="1300403"/>
                  </a:lnTo>
                  <a:lnTo>
                    <a:pt x="49" y="1350949"/>
                  </a:lnTo>
                  <a:lnTo>
                    <a:pt x="0" y="1401514"/>
                  </a:lnTo>
                  <a:lnTo>
                    <a:pt x="221" y="1452092"/>
                  </a:lnTo>
                  <a:lnTo>
                    <a:pt x="549" y="1502674"/>
                  </a:lnTo>
                  <a:lnTo>
                    <a:pt x="820" y="1553252"/>
                  </a:lnTo>
                  <a:lnTo>
                    <a:pt x="858" y="1610017"/>
                  </a:lnTo>
                  <a:lnTo>
                    <a:pt x="3944" y="1616227"/>
                  </a:lnTo>
                  <a:lnTo>
                    <a:pt x="5341" y="1621523"/>
                  </a:lnTo>
                  <a:lnTo>
                    <a:pt x="56688" y="1621523"/>
                  </a:lnTo>
                  <a:lnTo>
                    <a:pt x="56581" y="1553252"/>
                  </a:lnTo>
                  <a:lnTo>
                    <a:pt x="56444" y="1502674"/>
                  </a:lnTo>
                  <a:lnTo>
                    <a:pt x="56436" y="1350949"/>
                  </a:lnTo>
                  <a:lnTo>
                    <a:pt x="56692" y="1310120"/>
                  </a:lnTo>
                  <a:lnTo>
                    <a:pt x="57323" y="1258760"/>
                  </a:lnTo>
                  <a:lnTo>
                    <a:pt x="60615" y="1188058"/>
                  </a:lnTo>
                  <a:lnTo>
                    <a:pt x="71470" y="1118527"/>
                  </a:lnTo>
                  <a:lnTo>
                    <a:pt x="84858" y="1072886"/>
                  </a:lnTo>
                  <a:lnTo>
                    <a:pt x="102467" y="1030417"/>
                  </a:lnTo>
                  <a:lnTo>
                    <a:pt x="124286" y="991081"/>
                  </a:lnTo>
                  <a:lnTo>
                    <a:pt x="150306" y="954839"/>
                  </a:lnTo>
                  <a:lnTo>
                    <a:pt x="180513" y="921655"/>
                  </a:lnTo>
                  <a:lnTo>
                    <a:pt x="214899" y="891488"/>
                  </a:lnTo>
                  <a:lnTo>
                    <a:pt x="253451" y="864300"/>
                  </a:lnTo>
                  <a:lnTo>
                    <a:pt x="296159" y="840054"/>
                  </a:lnTo>
                  <a:lnTo>
                    <a:pt x="356966" y="840054"/>
                  </a:lnTo>
                  <a:lnTo>
                    <a:pt x="355943" y="832964"/>
                  </a:lnTo>
                  <a:lnTo>
                    <a:pt x="358286" y="821967"/>
                  </a:lnTo>
                  <a:lnTo>
                    <a:pt x="365922" y="814407"/>
                  </a:lnTo>
                  <a:lnTo>
                    <a:pt x="379712" y="810234"/>
                  </a:lnTo>
                  <a:lnTo>
                    <a:pt x="475318" y="796289"/>
                  </a:lnTo>
                  <a:lnTo>
                    <a:pt x="697601" y="796289"/>
                  </a:lnTo>
                  <a:lnTo>
                    <a:pt x="673647" y="784351"/>
                  </a:lnTo>
                  <a:lnTo>
                    <a:pt x="621571" y="759561"/>
                  </a:lnTo>
                  <a:lnTo>
                    <a:pt x="648831" y="739600"/>
                  </a:lnTo>
                  <a:lnTo>
                    <a:pt x="653878" y="736104"/>
                  </a:lnTo>
                  <a:lnTo>
                    <a:pt x="473756" y="736104"/>
                  </a:lnTo>
                  <a:lnTo>
                    <a:pt x="426401" y="730824"/>
                  </a:lnTo>
                  <a:lnTo>
                    <a:pt x="381928" y="716710"/>
                  </a:lnTo>
                  <a:lnTo>
                    <a:pt x="341413" y="694796"/>
                  </a:lnTo>
                  <a:lnTo>
                    <a:pt x="305936" y="666114"/>
                  </a:lnTo>
                  <a:lnTo>
                    <a:pt x="279089" y="634644"/>
                  </a:lnTo>
                  <a:lnTo>
                    <a:pt x="201074" y="634644"/>
                  </a:lnTo>
                  <a:lnTo>
                    <a:pt x="164435" y="622398"/>
                  </a:lnTo>
                  <a:lnTo>
                    <a:pt x="128174" y="594229"/>
                  </a:lnTo>
                  <a:lnTo>
                    <a:pt x="100274" y="557131"/>
                  </a:lnTo>
                  <a:lnTo>
                    <a:pt x="88717" y="518096"/>
                  </a:lnTo>
                  <a:lnTo>
                    <a:pt x="88590" y="511505"/>
                  </a:lnTo>
                  <a:lnTo>
                    <a:pt x="92933" y="501599"/>
                  </a:lnTo>
                  <a:lnTo>
                    <a:pt x="98242" y="498601"/>
                  </a:lnTo>
                  <a:lnTo>
                    <a:pt x="125456" y="476128"/>
                  </a:lnTo>
                  <a:lnTo>
                    <a:pt x="140589" y="448552"/>
                  </a:lnTo>
                  <a:lnTo>
                    <a:pt x="147346" y="417207"/>
                  </a:lnTo>
                  <a:lnTo>
                    <a:pt x="149436" y="383425"/>
                  </a:lnTo>
                  <a:lnTo>
                    <a:pt x="153940" y="336348"/>
                  </a:lnTo>
                  <a:lnTo>
                    <a:pt x="164443" y="291302"/>
                  </a:lnTo>
                  <a:lnTo>
                    <a:pt x="180574" y="248774"/>
                  </a:lnTo>
                  <a:lnTo>
                    <a:pt x="201961" y="209253"/>
                  </a:lnTo>
                  <a:lnTo>
                    <a:pt x="228231" y="173227"/>
                  </a:lnTo>
                  <a:lnTo>
                    <a:pt x="259047" y="141156"/>
                  </a:lnTo>
                  <a:lnTo>
                    <a:pt x="293935" y="113609"/>
                  </a:lnTo>
                  <a:lnTo>
                    <a:pt x="332624" y="90994"/>
                  </a:lnTo>
                  <a:lnTo>
                    <a:pt x="374708" y="73825"/>
                  </a:lnTo>
                  <a:lnTo>
                    <a:pt x="419097" y="62542"/>
                  </a:lnTo>
                  <a:lnTo>
                    <a:pt x="463232" y="57511"/>
                  </a:lnTo>
                  <a:lnTo>
                    <a:pt x="679776" y="57511"/>
                  </a:lnTo>
                  <a:lnTo>
                    <a:pt x="660372" y="45525"/>
                  </a:lnTo>
                  <a:lnTo>
                    <a:pt x="619266" y="26435"/>
                  </a:lnTo>
                  <a:lnTo>
                    <a:pt x="575698" y="12258"/>
                  </a:lnTo>
                  <a:lnTo>
                    <a:pt x="530007" y="3333"/>
                  </a:lnTo>
                  <a:lnTo>
                    <a:pt x="482531" y="0"/>
                  </a:lnTo>
                  <a:close/>
                </a:path>
                <a:path w="927100" h="1621789">
                  <a:moveTo>
                    <a:pt x="356966" y="840054"/>
                  </a:moveTo>
                  <a:lnTo>
                    <a:pt x="296159" y="840054"/>
                  </a:lnTo>
                  <a:lnTo>
                    <a:pt x="314424" y="893322"/>
                  </a:lnTo>
                  <a:lnTo>
                    <a:pt x="340977" y="936678"/>
                  </a:lnTo>
                  <a:lnTo>
                    <a:pt x="376175" y="969117"/>
                  </a:lnTo>
                  <a:lnTo>
                    <a:pt x="420379" y="989631"/>
                  </a:lnTo>
                  <a:lnTo>
                    <a:pt x="473946" y="997216"/>
                  </a:lnTo>
                  <a:lnTo>
                    <a:pt x="520870" y="992716"/>
                  </a:lnTo>
                  <a:lnTo>
                    <a:pt x="560867" y="978359"/>
                  </a:lnTo>
                  <a:lnTo>
                    <a:pt x="594331" y="954839"/>
                  </a:lnTo>
                  <a:lnTo>
                    <a:pt x="606463" y="940638"/>
                  </a:lnTo>
                  <a:lnTo>
                    <a:pt x="475254" y="940638"/>
                  </a:lnTo>
                  <a:lnTo>
                    <a:pt x="435014" y="933418"/>
                  </a:lnTo>
                  <a:lnTo>
                    <a:pt x="400489" y="914020"/>
                  </a:lnTo>
                  <a:lnTo>
                    <a:pt x="374041" y="884632"/>
                  </a:lnTo>
                  <a:lnTo>
                    <a:pt x="358033" y="847445"/>
                  </a:lnTo>
                  <a:lnTo>
                    <a:pt x="356966" y="840054"/>
                  </a:lnTo>
                  <a:close/>
                </a:path>
                <a:path w="927100" h="1621789">
                  <a:moveTo>
                    <a:pt x="697601" y="796289"/>
                  </a:moveTo>
                  <a:lnTo>
                    <a:pt x="475318" y="796289"/>
                  </a:lnTo>
                  <a:lnTo>
                    <a:pt x="571736" y="809675"/>
                  </a:lnTo>
                  <a:lnTo>
                    <a:pt x="586979" y="814306"/>
                  </a:lnTo>
                  <a:lnTo>
                    <a:pt x="595080" y="822839"/>
                  </a:lnTo>
                  <a:lnTo>
                    <a:pt x="597287" y="834868"/>
                  </a:lnTo>
                  <a:lnTo>
                    <a:pt x="594850" y="849985"/>
                  </a:lnTo>
                  <a:lnTo>
                    <a:pt x="578149" y="886529"/>
                  </a:lnTo>
                  <a:lnTo>
                    <a:pt x="550768" y="915338"/>
                  </a:lnTo>
                  <a:lnTo>
                    <a:pt x="515529" y="934133"/>
                  </a:lnTo>
                  <a:lnTo>
                    <a:pt x="475254" y="940638"/>
                  </a:lnTo>
                  <a:lnTo>
                    <a:pt x="606463" y="940638"/>
                  </a:lnTo>
                  <a:lnTo>
                    <a:pt x="621535" y="922996"/>
                  </a:lnTo>
                  <a:lnTo>
                    <a:pt x="642933" y="883454"/>
                  </a:lnTo>
                  <a:lnTo>
                    <a:pt x="658858" y="836980"/>
                  </a:lnTo>
                  <a:lnTo>
                    <a:pt x="760825" y="836980"/>
                  </a:lnTo>
                  <a:lnTo>
                    <a:pt x="744173" y="824720"/>
                  </a:lnTo>
                  <a:lnTo>
                    <a:pt x="721533" y="809751"/>
                  </a:lnTo>
                  <a:lnTo>
                    <a:pt x="698134" y="796555"/>
                  </a:lnTo>
                  <a:lnTo>
                    <a:pt x="697601" y="796289"/>
                  </a:lnTo>
                  <a:close/>
                </a:path>
                <a:path w="927100" h="1621789">
                  <a:moveTo>
                    <a:pt x="760825" y="836980"/>
                  </a:moveTo>
                  <a:lnTo>
                    <a:pt x="658858" y="836980"/>
                  </a:lnTo>
                  <a:lnTo>
                    <a:pt x="771774" y="915390"/>
                  </a:lnTo>
                  <a:lnTo>
                    <a:pt x="817087" y="879716"/>
                  </a:lnTo>
                  <a:lnTo>
                    <a:pt x="790782" y="859790"/>
                  </a:lnTo>
                  <a:lnTo>
                    <a:pt x="766867" y="841428"/>
                  </a:lnTo>
                  <a:lnTo>
                    <a:pt x="760825" y="836980"/>
                  </a:lnTo>
                  <a:close/>
                </a:path>
                <a:path w="927100" h="1621789">
                  <a:moveTo>
                    <a:pt x="550827" y="323964"/>
                  </a:moveTo>
                  <a:lnTo>
                    <a:pt x="471939" y="323964"/>
                  </a:lnTo>
                  <a:lnTo>
                    <a:pt x="499216" y="352405"/>
                  </a:lnTo>
                  <a:lnTo>
                    <a:pt x="525757" y="380657"/>
                  </a:lnTo>
                  <a:lnTo>
                    <a:pt x="581756" y="431101"/>
                  </a:lnTo>
                  <a:lnTo>
                    <a:pt x="634695" y="457749"/>
                  </a:lnTo>
                  <a:lnTo>
                    <a:pt x="692577" y="476376"/>
                  </a:lnTo>
                  <a:lnTo>
                    <a:pt x="704648" y="481340"/>
                  </a:lnTo>
                  <a:lnTo>
                    <a:pt x="712463" y="487837"/>
                  </a:lnTo>
                  <a:lnTo>
                    <a:pt x="716571" y="496931"/>
                  </a:lnTo>
                  <a:lnTo>
                    <a:pt x="717519" y="509689"/>
                  </a:lnTo>
                  <a:lnTo>
                    <a:pt x="711278" y="555168"/>
                  </a:lnTo>
                  <a:lnTo>
                    <a:pt x="696037" y="597708"/>
                  </a:lnTo>
                  <a:lnTo>
                    <a:pt x="672835" y="636326"/>
                  </a:lnTo>
                  <a:lnTo>
                    <a:pt x="642710" y="670036"/>
                  </a:lnTo>
                  <a:lnTo>
                    <a:pt x="606701" y="697853"/>
                  </a:lnTo>
                  <a:lnTo>
                    <a:pt x="565847" y="718793"/>
                  </a:lnTo>
                  <a:lnTo>
                    <a:pt x="521185" y="731872"/>
                  </a:lnTo>
                  <a:lnTo>
                    <a:pt x="473756" y="736104"/>
                  </a:lnTo>
                  <a:lnTo>
                    <a:pt x="653878" y="736104"/>
                  </a:lnTo>
                  <a:lnTo>
                    <a:pt x="675354" y="721229"/>
                  </a:lnTo>
                  <a:lnTo>
                    <a:pt x="704151" y="707112"/>
                  </a:lnTo>
                  <a:lnTo>
                    <a:pt x="738233" y="699909"/>
                  </a:lnTo>
                  <a:lnTo>
                    <a:pt x="780958" y="691513"/>
                  </a:lnTo>
                  <a:lnTo>
                    <a:pt x="819983" y="673984"/>
                  </a:lnTo>
                  <a:lnTo>
                    <a:pt x="854369" y="648735"/>
                  </a:lnTo>
                  <a:lnTo>
                    <a:pt x="865623" y="636409"/>
                  </a:lnTo>
                  <a:lnTo>
                    <a:pt x="751517" y="636409"/>
                  </a:lnTo>
                  <a:lnTo>
                    <a:pt x="781654" y="429602"/>
                  </a:lnTo>
                  <a:lnTo>
                    <a:pt x="729331" y="425051"/>
                  </a:lnTo>
                  <a:lnTo>
                    <a:pt x="682346" y="415118"/>
                  </a:lnTo>
                  <a:lnTo>
                    <a:pt x="640691" y="399723"/>
                  </a:lnTo>
                  <a:lnTo>
                    <a:pt x="604360" y="378785"/>
                  </a:lnTo>
                  <a:lnTo>
                    <a:pt x="573343" y="352223"/>
                  </a:lnTo>
                  <a:lnTo>
                    <a:pt x="550827" y="323964"/>
                  </a:lnTo>
                  <a:close/>
                </a:path>
                <a:path w="927100" h="1621789">
                  <a:moveTo>
                    <a:pt x="679776" y="57511"/>
                  </a:moveTo>
                  <a:lnTo>
                    <a:pt x="463232" y="57511"/>
                  </a:lnTo>
                  <a:lnTo>
                    <a:pt x="506656" y="58422"/>
                  </a:lnTo>
                  <a:lnTo>
                    <a:pt x="548910" y="64960"/>
                  </a:lnTo>
                  <a:lnTo>
                    <a:pt x="589536" y="76815"/>
                  </a:lnTo>
                  <a:lnTo>
                    <a:pt x="628074" y="93674"/>
                  </a:lnTo>
                  <a:lnTo>
                    <a:pt x="664067" y="115225"/>
                  </a:lnTo>
                  <a:lnTo>
                    <a:pt x="697081" y="141183"/>
                  </a:lnTo>
                  <a:lnTo>
                    <a:pt x="726580" y="171154"/>
                  </a:lnTo>
                  <a:lnTo>
                    <a:pt x="752185" y="204907"/>
                  </a:lnTo>
                  <a:lnTo>
                    <a:pt x="773409" y="242104"/>
                  </a:lnTo>
                  <a:lnTo>
                    <a:pt x="789795" y="282432"/>
                  </a:lnTo>
                  <a:lnTo>
                    <a:pt x="800883" y="325579"/>
                  </a:lnTo>
                  <a:lnTo>
                    <a:pt x="806216" y="371233"/>
                  </a:lnTo>
                  <a:lnTo>
                    <a:pt x="808289" y="408923"/>
                  </a:lnTo>
                  <a:lnTo>
                    <a:pt x="814457" y="444393"/>
                  </a:lnTo>
                  <a:lnTo>
                    <a:pt x="830271" y="475655"/>
                  </a:lnTo>
                  <a:lnTo>
                    <a:pt x="861283" y="500722"/>
                  </a:lnTo>
                  <a:lnTo>
                    <a:pt x="865538" y="502958"/>
                  </a:lnTo>
                  <a:lnTo>
                    <a:pt x="868297" y="511505"/>
                  </a:lnTo>
                  <a:lnTo>
                    <a:pt x="856618" y="556737"/>
                  </a:lnTo>
                  <a:lnTo>
                    <a:pt x="827766" y="594380"/>
                  </a:lnTo>
                  <a:lnTo>
                    <a:pt x="789997" y="623339"/>
                  </a:lnTo>
                  <a:lnTo>
                    <a:pt x="751517" y="636409"/>
                  </a:lnTo>
                  <a:lnTo>
                    <a:pt x="865623" y="636409"/>
                  </a:lnTo>
                  <a:lnTo>
                    <a:pt x="883178" y="617181"/>
                  </a:lnTo>
                  <a:lnTo>
                    <a:pt x="905472" y="580736"/>
                  </a:lnTo>
                  <a:lnTo>
                    <a:pt x="920313" y="540814"/>
                  </a:lnTo>
                  <a:lnTo>
                    <a:pt x="926762" y="498830"/>
                  </a:lnTo>
                  <a:lnTo>
                    <a:pt x="923882" y="456196"/>
                  </a:lnTo>
                  <a:lnTo>
                    <a:pt x="890558" y="448586"/>
                  </a:lnTo>
                  <a:lnTo>
                    <a:pt x="872824" y="437918"/>
                  </a:lnTo>
                  <a:lnTo>
                    <a:pt x="865592" y="417949"/>
                  </a:lnTo>
                  <a:lnTo>
                    <a:pt x="863773" y="382435"/>
                  </a:lnTo>
                  <a:lnTo>
                    <a:pt x="860037" y="334395"/>
                  </a:lnTo>
                  <a:lnTo>
                    <a:pt x="850796" y="288216"/>
                  </a:lnTo>
                  <a:lnTo>
                    <a:pt x="836388" y="244235"/>
                  </a:lnTo>
                  <a:lnTo>
                    <a:pt x="817151" y="202793"/>
                  </a:lnTo>
                  <a:lnTo>
                    <a:pt x="793423" y="164227"/>
                  </a:lnTo>
                  <a:lnTo>
                    <a:pt x="765543" y="128879"/>
                  </a:lnTo>
                  <a:lnTo>
                    <a:pt x="733849" y="97086"/>
                  </a:lnTo>
                  <a:lnTo>
                    <a:pt x="698680" y="69188"/>
                  </a:lnTo>
                  <a:lnTo>
                    <a:pt x="679776" y="57511"/>
                  </a:lnTo>
                  <a:close/>
                </a:path>
                <a:path w="927100" h="1621789">
                  <a:moveTo>
                    <a:pt x="502267" y="188112"/>
                  </a:moveTo>
                  <a:lnTo>
                    <a:pt x="450197" y="188112"/>
                  </a:lnTo>
                  <a:lnTo>
                    <a:pt x="440676" y="237831"/>
                  </a:lnTo>
                  <a:lnTo>
                    <a:pt x="425810" y="281658"/>
                  </a:lnTo>
                  <a:lnTo>
                    <a:pt x="405578" y="319664"/>
                  </a:lnTo>
                  <a:lnTo>
                    <a:pt x="379963" y="351921"/>
                  </a:lnTo>
                  <a:lnTo>
                    <a:pt x="348946" y="378498"/>
                  </a:lnTo>
                  <a:lnTo>
                    <a:pt x="312507" y="399468"/>
                  </a:lnTo>
                  <a:lnTo>
                    <a:pt x="270629" y="414901"/>
                  </a:lnTo>
                  <a:lnTo>
                    <a:pt x="223293" y="424867"/>
                  </a:lnTo>
                  <a:lnTo>
                    <a:pt x="170480" y="429437"/>
                  </a:lnTo>
                  <a:lnTo>
                    <a:pt x="201074" y="634644"/>
                  </a:lnTo>
                  <a:lnTo>
                    <a:pt x="279089" y="634644"/>
                  </a:lnTo>
                  <a:lnTo>
                    <a:pt x="276576" y="631699"/>
                  </a:lnTo>
                  <a:lnTo>
                    <a:pt x="254412" y="592583"/>
                  </a:lnTo>
                  <a:lnTo>
                    <a:pt x="240522" y="549799"/>
                  </a:lnTo>
                  <a:lnTo>
                    <a:pt x="235986" y="504380"/>
                  </a:lnTo>
                  <a:lnTo>
                    <a:pt x="237310" y="497167"/>
                  </a:lnTo>
                  <a:lnTo>
                    <a:pt x="240572" y="489462"/>
                  </a:lnTo>
                  <a:lnTo>
                    <a:pt x="244914" y="483165"/>
                  </a:lnTo>
                  <a:lnTo>
                    <a:pt x="249474" y="480174"/>
                  </a:lnTo>
                  <a:lnTo>
                    <a:pt x="297770" y="468713"/>
                  </a:lnTo>
                  <a:lnTo>
                    <a:pt x="341420" y="450924"/>
                  </a:lnTo>
                  <a:lnTo>
                    <a:pt x="380542" y="427181"/>
                  </a:lnTo>
                  <a:lnTo>
                    <a:pt x="415257" y="397858"/>
                  </a:lnTo>
                  <a:lnTo>
                    <a:pt x="445682" y="363328"/>
                  </a:lnTo>
                  <a:lnTo>
                    <a:pt x="471939" y="323964"/>
                  </a:lnTo>
                  <a:lnTo>
                    <a:pt x="550827" y="323964"/>
                  </a:lnTo>
                  <a:lnTo>
                    <a:pt x="547633" y="319955"/>
                  </a:lnTo>
                  <a:lnTo>
                    <a:pt x="527222" y="281902"/>
                  </a:lnTo>
                  <a:lnTo>
                    <a:pt x="512103" y="237981"/>
                  </a:lnTo>
                  <a:lnTo>
                    <a:pt x="502267" y="188112"/>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object 12">
              <a:extLst>
                <a:ext uri="{FF2B5EF4-FFF2-40B4-BE49-F238E27FC236}">
                  <a16:creationId xmlns:a16="http://schemas.microsoft.com/office/drawing/2014/main" id="{2816B4E6-CB96-4D76-8589-E686E17AB0C3}"/>
                </a:ext>
              </a:extLst>
            </p:cNvPr>
            <p:cNvSpPr/>
            <p:nvPr/>
          </p:nvSpPr>
          <p:spPr>
            <a:xfrm>
              <a:off x="2590272" y="2775848"/>
              <a:ext cx="695325" cy="1183640"/>
            </a:xfrm>
            <a:custGeom>
              <a:avLst/>
              <a:gdLst/>
              <a:ahLst/>
              <a:cxnLst/>
              <a:rect l="l" t="t" r="r" b="b"/>
              <a:pathLst>
                <a:path w="695325" h="1183639">
                  <a:moveTo>
                    <a:pt x="678178" y="689073"/>
                  </a:moveTo>
                  <a:lnTo>
                    <a:pt x="187617" y="689073"/>
                  </a:lnTo>
                  <a:lnTo>
                    <a:pt x="511098" y="689911"/>
                  </a:lnTo>
                  <a:lnTo>
                    <a:pt x="517769" y="690419"/>
                  </a:lnTo>
                  <a:lnTo>
                    <a:pt x="524867" y="691692"/>
                  </a:lnTo>
                  <a:lnTo>
                    <a:pt x="532824" y="693408"/>
                  </a:lnTo>
                  <a:lnTo>
                    <a:pt x="542074" y="695245"/>
                  </a:lnTo>
                  <a:lnTo>
                    <a:pt x="542074" y="1183471"/>
                  </a:lnTo>
                  <a:lnTo>
                    <a:pt x="597090" y="1183471"/>
                  </a:lnTo>
                  <a:lnTo>
                    <a:pt x="597090" y="768892"/>
                  </a:lnTo>
                  <a:lnTo>
                    <a:pt x="598251" y="724903"/>
                  </a:lnTo>
                  <a:lnTo>
                    <a:pt x="606377" y="701979"/>
                  </a:lnTo>
                  <a:lnTo>
                    <a:pt x="628433" y="692661"/>
                  </a:lnTo>
                  <a:lnTo>
                    <a:pt x="671385" y="689492"/>
                  </a:lnTo>
                  <a:lnTo>
                    <a:pt x="677646" y="689200"/>
                  </a:lnTo>
                  <a:lnTo>
                    <a:pt x="678178" y="689073"/>
                  </a:lnTo>
                  <a:close/>
                </a:path>
                <a:path w="695325" h="1183639">
                  <a:moveTo>
                    <a:pt x="186770" y="689160"/>
                  </a:moveTo>
                  <a:lnTo>
                    <a:pt x="71147" y="689160"/>
                  </a:lnTo>
                  <a:lnTo>
                    <a:pt x="86226" y="697377"/>
                  </a:lnTo>
                  <a:lnTo>
                    <a:pt x="93752" y="713887"/>
                  </a:lnTo>
                  <a:lnTo>
                    <a:pt x="95529" y="738590"/>
                  </a:lnTo>
                  <a:lnTo>
                    <a:pt x="94827" y="788618"/>
                  </a:lnTo>
                  <a:lnTo>
                    <a:pt x="94415" y="838651"/>
                  </a:lnTo>
                  <a:lnTo>
                    <a:pt x="94312" y="988769"/>
                  </a:lnTo>
                  <a:lnTo>
                    <a:pt x="94583" y="1088853"/>
                  </a:lnTo>
                  <a:lnTo>
                    <a:pt x="94640" y="1182772"/>
                  </a:lnTo>
                  <a:lnTo>
                    <a:pt x="151879" y="1182772"/>
                  </a:lnTo>
                  <a:lnTo>
                    <a:pt x="151922" y="828808"/>
                  </a:lnTo>
                  <a:lnTo>
                    <a:pt x="151762" y="788618"/>
                  </a:lnTo>
                  <a:lnTo>
                    <a:pt x="151660" y="768892"/>
                  </a:lnTo>
                  <a:lnTo>
                    <a:pt x="151384" y="726715"/>
                  </a:lnTo>
                  <a:lnTo>
                    <a:pt x="152864" y="709213"/>
                  </a:lnTo>
                  <a:lnTo>
                    <a:pt x="158513" y="697469"/>
                  </a:lnTo>
                  <a:lnTo>
                    <a:pt x="169655" y="690938"/>
                  </a:lnTo>
                  <a:lnTo>
                    <a:pt x="186770" y="689160"/>
                  </a:lnTo>
                  <a:close/>
                </a:path>
                <a:path w="695325" h="1183639">
                  <a:moveTo>
                    <a:pt x="115918" y="0"/>
                  </a:moveTo>
                  <a:lnTo>
                    <a:pt x="100441" y="3060"/>
                  </a:lnTo>
                  <a:lnTo>
                    <a:pt x="94826" y="16526"/>
                  </a:lnTo>
                  <a:lnTo>
                    <a:pt x="95034" y="44116"/>
                  </a:lnTo>
                  <a:lnTo>
                    <a:pt x="96792" y="93655"/>
                  </a:lnTo>
                  <a:lnTo>
                    <a:pt x="97127" y="143007"/>
                  </a:lnTo>
                  <a:lnTo>
                    <a:pt x="95954" y="192166"/>
                  </a:lnTo>
                  <a:lnTo>
                    <a:pt x="93188" y="241131"/>
                  </a:lnTo>
                  <a:lnTo>
                    <a:pt x="88744" y="289897"/>
                  </a:lnTo>
                  <a:lnTo>
                    <a:pt x="82537" y="338462"/>
                  </a:lnTo>
                  <a:lnTo>
                    <a:pt x="74484" y="386822"/>
                  </a:lnTo>
                  <a:lnTo>
                    <a:pt x="64498" y="434974"/>
                  </a:lnTo>
                  <a:lnTo>
                    <a:pt x="52495" y="482914"/>
                  </a:lnTo>
                  <a:lnTo>
                    <a:pt x="38392" y="530640"/>
                  </a:lnTo>
                  <a:lnTo>
                    <a:pt x="27490" y="568865"/>
                  </a:lnTo>
                  <a:lnTo>
                    <a:pt x="18162" y="608037"/>
                  </a:lnTo>
                  <a:lnTo>
                    <a:pt x="9350" y="648262"/>
                  </a:lnTo>
                  <a:lnTo>
                    <a:pt x="0" y="689644"/>
                  </a:lnTo>
                  <a:lnTo>
                    <a:pt x="14002" y="689866"/>
                  </a:lnTo>
                  <a:lnTo>
                    <a:pt x="26069" y="690211"/>
                  </a:lnTo>
                  <a:lnTo>
                    <a:pt x="36779" y="690196"/>
                  </a:lnTo>
                  <a:lnTo>
                    <a:pt x="46710" y="689339"/>
                  </a:lnTo>
                  <a:lnTo>
                    <a:pt x="186770" y="689160"/>
                  </a:lnTo>
                  <a:lnTo>
                    <a:pt x="187617" y="689073"/>
                  </a:lnTo>
                  <a:lnTo>
                    <a:pt x="678178" y="689073"/>
                  </a:lnTo>
                  <a:lnTo>
                    <a:pt x="683869" y="687714"/>
                  </a:lnTo>
                  <a:lnTo>
                    <a:pt x="695236" y="686012"/>
                  </a:lnTo>
                  <a:lnTo>
                    <a:pt x="680058" y="629446"/>
                  </a:lnTo>
                  <a:lnTo>
                    <a:pt x="69697" y="629446"/>
                  </a:lnTo>
                  <a:lnTo>
                    <a:pt x="83880" y="581949"/>
                  </a:lnTo>
                  <a:lnTo>
                    <a:pt x="97191" y="534465"/>
                  </a:lnTo>
                  <a:lnTo>
                    <a:pt x="109487" y="486960"/>
                  </a:lnTo>
                  <a:lnTo>
                    <a:pt x="120625" y="439402"/>
                  </a:lnTo>
                  <a:lnTo>
                    <a:pt x="130464" y="391758"/>
                  </a:lnTo>
                  <a:lnTo>
                    <a:pt x="138861" y="343997"/>
                  </a:lnTo>
                  <a:lnTo>
                    <a:pt x="145674" y="296084"/>
                  </a:lnTo>
                  <a:lnTo>
                    <a:pt x="150759" y="247989"/>
                  </a:lnTo>
                  <a:lnTo>
                    <a:pt x="153976" y="199678"/>
                  </a:lnTo>
                  <a:lnTo>
                    <a:pt x="155132" y="153075"/>
                  </a:lnTo>
                  <a:lnTo>
                    <a:pt x="155161" y="150097"/>
                  </a:lnTo>
                  <a:lnTo>
                    <a:pt x="154231" y="102280"/>
                  </a:lnTo>
                  <a:lnTo>
                    <a:pt x="150985" y="53127"/>
                  </a:lnTo>
                  <a:lnTo>
                    <a:pt x="145300" y="3628"/>
                  </a:lnTo>
                  <a:lnTo>
                    <a:pt x="115918" y="0"/>
                  </a:lnTo>
                  <a:close/>
                </a:path>
                <a:path w="695325" h="1183639">
                  <a:moveTo>
                    <a:pt x="566349" y="759"/>
                  </a:moveTo>
                  <a:lnTo>
                    <a:pt x="540213" y="44116"/>
                  </a:lnTo>
                  <a:lnTo>
                    <a:pt x="540026" y="71252"/>
                  </a:lnTo>
                  <a:lnTo>
                    <a:pt x="539859" y="93655"/>
                  </a:lnTo>
                  <a:lnTo>
                    <a:pt x="539862" y="123826"/>
                  </a:lnTo>
                  <a:lnTo>
                    <a:pt x="540440" y="153075"/>
                  </a:lnTo>
                  <a:lnTo>
                    <a:pt x="541251" y="196530"/>
                  </a:lnTo>
                  <a:lnTo>
                    <a:pt x="541986" y="243033"/>
                  </a:lnTo>
                  <a:lnTo>
                    <a:pt x="544305" y="289282"/>
                  </a:lnTo>
                  <a:lnTo>
                    <a:pt x="549922" y="334958"/>
                  </a:lnTo>
                  <a:lnTo>
                    <a:pt x="559730" y="384801"/>
                  </a:lnTo>
                  <a:lnTo>
                    <a:pt x="571339" y="434332"/>
                  </a:lnTo>
                  <a:lnTo>
                    <a:pt x="584015" y="483678"/>
                  </a:lnTo>
                  <a:lnTo>
                    <a:pt x="597025" y="532968"/>
                  </a:lnTo>
                  <a:lnTo>
                    <a:pt x="609638" y="582329"/>
                  </a:lnTo>
                  <a:lnTo>
                    <a:pt x="612240" y="593552"/>
                  </a:lnTo>
                  <a:lnTo>
                    <a:pt x="614670" y="605030"/>
                  </a:lnTo>
                  <a:lnTo>
                    <a:pt x="617096" y="616937"/>
                  </a:lnTo>
                  <a:lnTo>
                    <a:pt x="619683" y="629446"/>
                  </a:lnTo>
                  <a:lnTo>
                    <a:pt x="680058" y="629446"/>
                  </a:lnTo>
                  <a:lnTo>
                    <a:pt x="669323" y="589436"/>
                  </a:lnTo>
                  <a:lnTo>
                    <a:pt x="656628" y="541230"/>
                  </a:lnTo>
                  <a:lnTo>
                    <a:pt x="644426" y="493033"/>
                  </a:lnTo>
                  <a:lnTo>
                    <a:pt x="632954" y="444812"/>
                  </a:lnTo>
                  <a:lnTo>
                    <a:pt x="622453" y="396532"/>
                  </a:lnTo>
                  <a:lnTo>
                    <a:pt x="613160" y="348160"/>
                  </a:lnTo>
                  <a:lnTo>
                    <a:pt x="605315" y="299662"/>
                  </a:lnTo>
                  <a:lnTo>
                    <a:pt x="599157" y="251005"/>
                  </a:lnTo>
                  <a:lnTo>
                    <a:pt x="594923" y="202153"/>
                  </a:lnTo>
                  <a:lnTo>
                    <a:pt x="592854" y="153075"/>
                  </a:lnTo>
                  <a:lnTo>
                    <a:pt x="593187" y="103735"/>
                  </a:lnTo>
                  <a:lnTo>
                    <a:pt x="596162" y="54100"/>
                  </a:lnTo>
                  <a:lnTo>
                    <a:pt x="602018" y="4136"/>
                  </a:lnTo>
                  <a:lnTo>
                    <a:pt x="566349" y="759"/>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object 13">
              <a:extLst>
                <a:ext uri="{FF2B5EF4-FFF2-40B4-BE49-F238E27FC236}">
                  <a16:creationId xmlns:a16="http://schemas.microsoft.com/office/drawing/2014/main" id="{9B9E9515-797F-4329-B70F-81A4BAEE4ABE}"/>
                </a:ext>
              </a:extLst>
            </p:cNvPr>
            <p:cNvSpPr/>
            <p:nvPr/>
          </p:nvSpPr>
          <p:spPr>
            <a:xfrm>
              <a:off x="2855211" y="2246245"/>
              <a:ext cx="166370" cy="82550"/>
            </a:xfrm>
            <a:custGeom>
              <a:avLst/>
              <a:gdLst/>
              <a:ahLst/>
              <a:cxnLst/>
              <a:rect l="l" t="t" r="r" b="b"/>
              <a:pathLst>
                <a:path w="166369" h="82550">
                  <a:moveTo>
                    <a:pt x="165989" y="0"/>
                  </a:moveTo>
                  <a:lnTo>
                    <a:pt x="0" y="0"/>
                  </a:lnTo>
                  <a:lnTo>
                    <a:pt x="7244" y="33536"/>
                  </a:lnTo>
                  <a:lnTo>
                    <a:pt x="23307" y="58897"/>
                  </a:lnTo>
                  <a:lnTo>
                    <a:pt x="47195" y="75307"/>
                  </a:lnTo>
                  <a:lnTo>
                    <a:pt x="77914" y="81991"/>
                  </a:lnTo>
                  <a:lnTo>
                    <a:pt x="110267" y="77815"/>
                  </a:lnTo>
                  <a:lnTo>
                    <a:pt x="136305" y="62403"/>
                  </a:lnTo>
                  <a:lnTo>
                    <a:pt x="155167" y="36287"/>
                  </a:lnTo>
                  <a:lnTo>
                    <a:pt x="165989" y="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 name="Group 33" descr="Icon of a person with an arm injury" title="Arm Injury">
            <a:extLst>
              <a:ext uri="{FF2B5EF4-FFF2-40B4-BE49-F238E27FC236}">
                <a16:creationId xmlns:a16="http://schemas.microsoft.com/office/drawing/2014/main" id="{5B0F6599-EB12-4C73-A8B7-CE438C6CD1A4}"/>
              </a:ext>
            </a:extLst>
          </p:cNvPr>
          <p:cNvGrpSpPr>
            <a:grpSpLocks noChangeAspect="1"/>
          </p:cNvGrpSpPr>
          <p:nvPr userDrawn="1"/>
        </p:nvGrpSpPr>
        <p:grpSpPr>
          <a:xfrm>
            <a:off x="5055033" y="5684804"/>
            <a:ext cx="397532" cy="914400"/>
            <a:chOff x="5742070" y="1770398"/>
            <a:chExt cx="952500" cy="2190931"/>
          </a:xfrm>
          <a:solidFill>
            <a:schemeClr val="bg1"/>
          </a:solidFill>
        </p:grpSpPr>
        <p:sp>
          <p:nvSpPr>
            <p:cNvPr id="35" name="object 8">
              <a:extLst>
                <a:ext uri="{FF2B5EF4-FFF2-40B4-BE49-F238E27FC236}">
                  <a16:creationId xmlns:a16="http://schemas.microsoft.com/office/drawing/2014/main" id="{7CDC8557-166D-4102-AE61-2DC316B121A5}"/>
                </a:ext>
              </a:extLst>
            </p:cNvPr>
            <p:cNvSpPr/>
            <p:nvPr/>
          </p:nvSpPr>
          <p:spPr>
            <a:xfrm>
              <a:off x="5742070" y="1770398"/>
              <a:ext cx="952500" cy="1536700"/>
            </a:xfrm>
            <a:custGeom>
              <a:avLst/>
              <a:gdLst/>
              <a:ahLst/>
              <a:cxnLst/>
              <a:rect l="l" t="t" r="r" b="b"/>
              <a:pathLst>
                <a:path w="952500" h="1536700">
                  <a:moveTo>
                    <a:pt x="771151" y="762000"/>
                  </a:moveTo>
                  <a:lnTo>
                    <a:pt x="661758" y="762000"/>
                  </a:lnTo>
                  <a:lnTo>
                    <a:pt x="707712" y="787400"/>
                  </a:lnTo>
                  <a:lnTo>
                    <a:pt x="749367" y="812800"/>
                  </a:lnTo>
                  <a:lnTo>
                    <a:pt x="786346" y="850900"/>
                  </a:lnTo>
                  <a:lnTo>
                    <a:pt x="818273" y="889000"/>
                  </a:lnTo>
                  <a:lnTo>
                    <a:pt x="844771" y="927100"/>
                  </a:lnTo>
                  <a:lnTo>
                    <a:pt x="865462" y="977900"/>
                  </a:lnTo>
                  <a:lnTo>
                    <a:pt x="879971" y="1028700"/>
                  </a:lnTo>
                  <a:lnTo>
                    <a:pt x="887920" y="1079500"/>
                  </a:lnTo>
                  <a:lnTo>
                    <a:pt x="891467" y="1130300"/>
                  </a:lnTo>
                  <a:lnTo>
                    <a:pt x="893709" y="1181100"/>
                  </a:lnTo>
                  <a:lnTo>
                    <a:pt x="894930" y="1231900"/>
                  </a:lnTo>
                  <a:lnTo>
                    <a:pt x="895416" y="1282700"/>
                  </a:lnTo>
                  <a:lnTo>
                    <a:pt x="895325" y="1447800"/>
                  </a:lnTo>
                  <a:lnTo>
                    <a:pt x="895730" y="1498600"/>
                  </a:lnTo>
                  <a:lnTo>
                    <a:pt x="895756" y="1536700"/>
                  </a:lnTo>
                  <a:lnTo>
                    <a:pt x="951966" y="1536700"/>
                  </a:lnTo>
                  <a:lnTo>
                    <a:pt x="952062" y="1435100"/>
                  </a:lnTo>
                  <a:lnTo>
                    <a:pt x="952183" y="1257300"/>
                  </a:lnTo>
                  <a:lnTo>
                    <a:pt x="952056" y="1193800"/>
                  </a:lnTo>
                  <a:lnTo>
                    <a:pt x="951801" y="1143000"/>
                  </a:lnTo>
                  <a:lnTo>
                    <a:pt x="949516" y="1092200"/>
                  </a:lnTo>
                  <a:lnTo>
                    <a:pt x="943329" y="1054100"/>
                  </a:lnTo>
                  <a:lnTo>
                    <a:pt x="933230" y="1003300"/>
                  </a:lnTo>
                  <a:lnTo>
                    <a:pt x="919210" y="965200"/>
                  </a:lnTo>
                  <a:lnTo>
                    <a:pt x="901262" y="927100"/>
                  </a:lnTo>
                  <a:lnTo>
                    <a:pt x="879377" y="876300"/>
                  </a:lnTo>
                  <a:lnTo>
                    <a:pt x="853546" y="850900"/>
                  </a:lnTo>
                  <a:lnTo>
                    <a:pt x="823760" y="812800"/>
                  </a:lnTo>
                  <a:lnTo>
                    <a:pt x="790011" y="774700"/>
                  </a:lnTo>
                  <a:lnTo>
                    <a:pt x="771151" y="762000"/>
                  </a:lnTo>
                  <a:close/>
                </a:path>
                <a:path w="952500" h="1536700">
                  <a:moveTo>
                    <a:pt x="649686" y="685800"/>
                  </a:moveTo>
                  <a:lnTo>
                    <a:pt x="310154" y="685800"/>
                  </a:lnTo>
                  <a:lnTo>
                    <a:pt x="300238" y="698500"/>
                  </a:lnTo>
                  <a:lnTo>
                    <a:pt x="291045" y="698500"/>
                  </a:lnTo>
                  <a:lnTo>
                    <a:pt x="245035" y="723900"/>
                  </a:lnTo>
                  <a:lnTo>
                    <a:pt x="202912" y="749300"/>
                  </a:lnTo>
                  <a:lnTo>
                    <a:pt x="164683" y="774700"/>
                  </a:lnTo>
                  <a:lnTo>
                    <a:pt x="130356" y="812800"/>
                  </a:lnTo>
                  <a:lnTo>
                    <a:pt x="99940" y="838200"/>
                  </a:lnTo>
                  <a:lnTo>
                    <a:pt x="73442" y="876300"/>
                  </a:lnTo>
                  <a:lnTo>
                    <a:pt x="50870" y="927100"/>
                  </a:lnTo>
                  <a:lnTo>
                    <a:pt x="32231" y="965200"/>
                  </a:lnTo>
                  <a:lnTo>
                    <a:pt x="17535" y="1016000"/>
                  </a:lnTo>
                  <a:lnTo>
                    <a:pt x="6788" y="1066800"/>
                  </a:lnTo>
                  <a:lnTo>
                    <a:pt x="0" y="1117600"/>
                  </a:lnTo>
                  <a:lnTo>
                    <a:pt x="12" y="1130300"/>
                  </a:lnTo>
                  <a:lnTo>
                    <a:pt x="4999" y="1143000"/>
                  </a:lnTo>
                  <a:lnTo>
                    <a:pt x="16321" y="1155700"/>
                  </a:lnTo>
                  <a:lnTo>
                    <a:pt x="35344" y="1168400"/>
                  </a:lnTo>
                  <a:lnTo>
                    <a:pt x="83076" y="1181100"/>
                  </a:lnTo>
                  <a:lnTo>
                    <a:pt x="130712" y="1206500"/>
                  </a:lnTo>
                  <a:lnTo>
                    <a:pt x="225785" y="1231900"/>
                  </a:lnTo>
                  <a:lnTo>
                    <a:pt x="273263" y="1257300"/>
                  </a:lnTo>
                  <a:lnTo>
                    <a:pt x="368210" y="1282700"/>
                  </a:lnTo>
                  <a:lnTo>
                    <a:pt x="415721" y="1308100"/>
                  </a:lnTo>
                  <a:lnTo>
                    <a:pt x="439222" y="1308100"/>
                  </a:lnTo>
                  <a:lnTo>
                    <a:pt x="487248" y="1333500"/>
                  </a:lnTo>
                  <a:lnTo>
                    <a:pt x="512063" y="1333500"/>
                  </a:lnTo>
                  <a:lnTo>
                    <a:pt x="531075" y="1282700"/>
                  </a:lnTo>
                  <a:lnTo>
                    <a:pt x="444728" y="1257300"/>
                  </a:lnTo>
                  <a:lnTo>
                    <a:pt x="461423" y="1219200"/>
                  </a:lnTo>
                  <a:lnTo>
                    <a:pt x="366255" y="1219200"/>
                  </a:lnTo>
                  <a:lnTo>
                    <a:pt x="225742" y="1181100"/>
                  </a:lnTo>
                  <a:lnTo>
                    <a:pt x="178986" y="1155700"/>
                  </a:lnTo>
                  <a:lnTo>
                    <a:pt x="85343" y="1130300"/>
                  </a:lnTo>
                  <a:lnTo>
                    <a:pt x="72374" y="1117600"/>
                  </a:lnTo>
                  <a:lnTo>
                    <a:pt x="64096" y="1104900"/>
                  </a:lnTo>
                  <a:lnTo>
                    <a:pt x="60476" y="1104900"/>
                  </a:lnTo>
                  <a:lnTo>
                    <a:pt x="61480" y="1092200"/>
                  </a:lnTo>
                  <a:lnTo>
                    <a:pt x="65711" y="1066800"/>
                  </a:lnTo>
                  <a:lnTo>
                    <a:pt x="69884" y="1041400"/>
                  </a:lnTo>
                  <a:lnTo>
                    <a:pt x="78727" y="1003300"/>
                  </a:lnTo>
                  <a:lnTo>
                    <a:pt x="248368" y="1003300"/>
                  </a:lnTo>
                  <a:lnTo>
                    <a:pt x="107327" y="952500"/>
                  </a:lnTo>
                  <a:lnTo>
                    <a:pt x="129802" y="901700"/>
                  </a:lnTo>
                  <a:lnTo>
                    <a:pt x="160260" y="863600"/>
                  </a:lnTo>
                  <a:lnTo>
                    <a:pt x="197085" y="825500"/>
                  </a:lnTo>
                  <a:lnTo>
                    <a:pt x="238661" y="787400"/>
                  </a:lnTo>
                  <a:lnTo>
                    <a:pt x="283375" y="762000"/>
                  </a:lnTo>
                  <a:lnTo>
                    <a:pt x="356438" y="762000"/>
                  </a:lnTo>
                  <a:lnTo>
                    <a:pt x="355385" y="749300"/>
                  </a:lnTo>
                  <a:lnTo>
                    <a:pt x="358598" y="736600"/>
                  </a:lnTo>
                  <a:lnTo>
                    <a:pt x="366319" y="736600"/>
                  </a:lnTo>
                  <a:lnTo>
                    <a:pt x="378790" y="723900"/>
                  </a:lnTo>
                  <a:lnTo>
                    <a:pt x="402720" y="723900"/>
                  </a:lnTo>
                  <a:lnTo>
                    <a:pt x="475767" y="711200"/>
                  </a:lnTo>
                  <a:lnTo>
                    <a:pt x="690024" y="711200"/>
                  </a:lnTo>
                  <a:lnTo>
                    <a:pt x="669458" y="698500"/>
                  </a:lnTo>
                  <a:lnTo>
                    <a:pt x="649686" y="685800"/>
                  </a:lnTo>
                  <a:close/>
                </a:path>
                <a:path w="952500" h="1536700">
                  <a:moveTo>
                    <a:pt x="248368" y="1003300"/>
                  </a:moveTo>
                  <a:lnTo>
                    <a:pt x="78727" y="1003300"/>
                  </a:lnTo>
                  <a:lnTo>
                    <a:pt x="436016" y="1130300"/>
                  </a:lnTo>
                  <a:lnTo>
                    <a:pt x="426265" y="1155700"/>
                  </a:lnTo>
                  <a:lnTo>
                    <a:pt x="416942" y="1168400"/>
                  </a:lnTo>
                  <a:lnTo>
                    <a:pt x="407393" y="1193800"/>
                  </a:lnTo>
                  <a:lnTo>
                    <a:pt x="396963" y="1219200"/>
                  </a:lnTo>
                  <a:lnTo>
                    <a:pt x="461423" y="1219200"/>
                  </a:lnTo>
                  <a:lnTo>
                    <a:pt x="522636" y="1079500"/>
                  </a:lnTo>
                  <a:lnTo>
                    <a:pt x="459930" y="1079500"/>
                  </a:lnTo>
                  <a:lnTo>
                    <a:pt x="248368" y="1003300"/>
                  </a:lnTo>
                  <a:close/>
                </a:path>
                <a:path w="952500" h="1536700">
                  <a:moveTo>
                    <a:pt x="356438" y="762000"/>
                  </a:moveTo>
                  <a:lnTo>
                    <a:pt x="283375" y="762000"/>
                  </a:lnTo>
                  <a:lnTo>
                    <a:pt x="306766" y="800100"/>
                  </a:lnTo>
                  <a:lnTo>
                    <a:pt x="329296" y="825500"/>
                  </a:lnTo>
                  <a:lnTo>
                    <a:pt x="353196" y="863600"/>
                  </a:lnTo>
                  <a:lnTo>
                    <a:pt x="380695" y="889000"/>
                  </a:lnTo>
                  <a:lnTo>
                    <a:pt x="412633" y="901700"/>
                  </a:lnTo>
                  <a:lnTo>
                    <a:pt x="448756" y="914400"/>
                  </a:lnTo>
                  <a:lnTo>
                    <a:pt x="487281" y="914400"/>
                  </a:lnTo>
                  <a:lnTo>
                    <a:pt x="526427" y="927100"/>
                  </a:lnTo>
                  <a:lnTo>
                    <a:pt x="459930" y="1079500"/>
                  </a:lnTo>
                  <a:lnTo>
                    <a:pt x="522636" y="1079500"/>
                  </a:lnTo>
                  <a:lnTo>
                    <a:pt x="617239" y="863600"/>
                  </a:lnTo>
                  <a:lnTo>
                    <a:pt x="475767" y="863600"/>
                  </a:lnTo>
                  <a:lnTo>
                    <a:pt x="434305" y="850900"/>
                  </a:lnTo>
                  <a:lnTo>
                    <a:pt x="398529" y="825500"/>
                  </a:lnTo>
                  <a:lnTo>
                    <a:pt x="371540" y="800100"/>
                  </a:lnTo>
                  <a:lnTo>
                    <a:pt x="356438" y="762000"/>
                  </a:lnTo>
                  <a:close/>
                </a:path>
                <a:path w="952500" h="1536700">
                  <a:moveTo>
                    <a:pt x="690024" y="711200"/>
                  </a:moveTo>
                  <a:lnTo>
                    <a:pt x="475767" y="711200"/>
                  </a:lnTo>
                  <a:lnTo>
                    <a:pt x="525129" y="723900"/>
                  </a:lnTo>
                  <a:lnTo>
                    <a:pt x="574890" y="723900"/>
                  </a:lnTo>
                  <a:lnTo>
                    <a:pt x="587810" y="736600"/>
                  </a:lnTo>
                  <a:lnTo>
                    <a:pt x="594885" y="736600"/>
                  </a:lnTo>
                  <a:lnTo>
                    <a:pt x="597195" y="749300"/>
                  </a:lnTo>
                  <a:lnTo>
                    <a:pt x="580532" y="800100"/>
                  </a:lnTo>
                  <a:lnTo>
                    <a:pt x="517280" y="850900"/>
                  </a:lnTo>
                  <a:lnTo>
                    <a:pt x="475767" y="863600"/>
                  </a:lnTo>
                  <a:lnTo>
                    <a:pt x="617239" y="863600"/>
                  </a:lnTo>
                  <a:lnTo>
                    <a:pt x="661758" y="762000"/>
                  </a:lnTo>
                  <a:lnTo>
                    <a:pt x="771151" y="762000"/>
                  </a:lnTo>
                  <a:lnTo>
                    <a:pt x="752291" y="749300"/>
                  </a:lnTo>
                  <a:lnTo>
                    <a:pt x="690024" y="711200"/>
                  </a:lnTo>
                  <a:close/>
                </a:path>
                <a:path w="952500" h="1536700">
                  <a:moveTo>
                    <a:pt x="764311" y="495300"/>
                  </a:moveTo>
                  <a:lnTo>
                    <a:pt x="701738" y="495300"/>
                  </a:lnTo>
                  <a:lnTo>
                    <a:pt x="685442" y="533400"/>
                  </a:lnTo>
                  <a:lnTo>
                    <a:pt x="658328" y="571500"/>
                  </a:lnTo>
                  <a:lnTo>
                    <a:pt x="622276" y="609600"/>
                  </a:lnTo>
                  <a:lnTo>
                    <a:pt x="579163" y="635000"/>
                  </a:lnTo>
                  <a:lnTo>
                    <a:pt x="530869" y="647700"/>
                  </a:lnTo>
                  <a:lnTo>
                    <a:pt x="479272" y="660400"/>
                  </a:lnTo>
                  <a:lnTo>
                    <a:pt x="318822" y="660400"/>
                  </a:lnTo>
                  <a:lnTo>
                    <a:pt x="334302" y="673100"/>
                  </a:lnTo>
                  <a:lnTo>
                    <a:pt x="321330" y="685800"/>
                  </a:lnTo>
                  <a:lnTo>
                    <a:pt x="631507" y="685800"/>
                  </a:lnTo>
                  <a:lnTo>
                    <a:pt x="658793" y="647700"/>
                  </a:lnTo>
                  <a:lnTo>
                    <a:pt x="686177" y="622300"/>
                  </a:lnTo>
                  <a:lnTo>
                    <a:pt x="712499" y="596900"/>
                  </a:lnTo>
                  <a:lnTo>
                    <a:pt x="736599" y="558800"/>
                  </a:lnTo>
                  <a:lnTo>
                    <a:pt x="758584" y="520700"/>
                  </a:lnTo>
                  <a:lnTo>
                    <a:pt x="764311" y="495300"/>
                  </a:lnTo>
                  <a:close/>
                </a:path>
                <a:path w="952500" h="1536700">
                  <a:moveTo>
                    <a:pt x="184111" y="38100"/>
                  </a:moveTo>
                  <a:lnTo>
                    <a:pt x="183960" y="88900"/>
                  </a:lnTo>
                  <a:lnTo>
                    <a:pt x="183529" y="152400"/>
                  </a:lnTo>
                  <a:lnTo>
                    <a:pt x="183057" y="228600"/>
                  </a:lnTo>
                  <a:lnTo>
                    <a:pt x="182934" y="317500"/>
                  </a:lnTo>
                  <a:lnTo>
                    <a:pt x="183195" y="355600"/>
                  </a:lnTo>
                  <a:lnTo>
                    <a:pt x="184096" y="406400"/>
                  </a:lnTo>
                  <a:lnTo>
                    <a:pt x="185699" y="457200"/>
                  </a:lnTo>
                  <a:lnTo>
                    <a:pt x="194078" y="508000"/>
                  </a:lnTo>
                  <a:lnTo>
                    <a:pt x="213850" y="558800"/>
                  </a:lnTo>
                  <a:lnTo>
                    <a:pt x="242997" y="596900"/>
                  </a:lnTo>
                  <a:lnTo>
                    <a:pt x="291730" y="647700"/>
                  </a:lnTo>
                  <a:lnTo>
                    <a:pt x="304734" y="660400"/>
                  </a:lnTo>
                  <a:lnTo>
                    <a:pt x="479272" y="660400"/>
                  </a:lnTo>
                  <a:lnTo>
                    <a:pt x="427553" y="647700"/>
                  </a:lnTo>
                  <a:lnTo>
                    <a:pt x="379072" y="635000"/>
                  </a:lnTo>
                  <a:lnTo>
                    <a:pt x="335749" y="609600"/>
                  </a:lnTo>
                  <a:lnTo>
                    <a:pt x="299505" y="571500"/>
                  </a:lnTo>
                  <a:lnTo>
                    <a:pt x="272259" y="533400"/>
                  </a:lnTo>
                  <a:lnTo>
                    <a:pt x="255930" y="495300"/>
                  </a:lnTo>
                  <a:lnTo>
                    <a:pt x="764311" y="495300"/>
                  </a:lnTo>
                  <a:lnTo>
                    <a:pt x="767174" y="482600"/>
                  </a:lnTo>
                  <a:lnTo>
                    <a:pt x="345668" y="482600"/>
                  </a:lnTo>
                  <a:lnTo>
                    <a:pt x="308238" y="457200"/>
                  </a:lnTo>
                  <a:lnTo>
                    <a:pt x="277410" y="431800"/>
                  </a:lnTo>
                  <a:lnTo>
                    <a:pt x="254591" y="393700"/>
                  </a:lnTo>
                  <a:lnTo>
                    <a:pt x="241185" y="342900"/>
                  </a:lnTo>
                  <a:lnTo>
                    <a:pt x="286453" y="330200"/>
                  </a:lnTo>
                  <a:lnTo>
                    <a:pt x="330225" y="304800"/>
                  </a:lnTo>
                  <a:lnTo>
                    <a:pt x="777500" y="304800"/>
                  </a:lnTo>
                  <a:lnTo>
                    <a:pt x="776986" y="279400"/>
                  </a:lnTo>
                  <a:lnTo>
                    <a:pt x="238074" y="279400"/>
                  </a:lnTo>
                  <a:lnTo>
                    <a:pt x="238163" y="152400"/>
                  </a:lnTo>
                  <a:lnTo>
                    <a:pt x="238400" y="152400"/>
                  </a:lnTo>
                  <a:lnTo>
                    <a:pt x="238899" y="139700"/>
                  </a:lnTo>
                  <a:lnTo>
                    <a:pt x="239513" y="127000"/>
                  </a:lnTo>
                  <a:lnTo>
                    <a:pt x="329913" y="127000"/>
                  </a:lnTo>
                  <a:lnTo>
                    <a:pt x="338958" y="88900"/>
                  </a:lnTo>
                  <a:lnTo>
                    <a:pt x="353707" y="63500"/>
                  </a:lnTo>
                  <a:lnTo>
                    <a:pt x="278599" y="63500"/>
                  </a:lnTo>
                  <a:lnTo>
                    <a:pt x="184111" y="38100"/>
                  </a:lnTo>
                  <a:close/>
                </a:path>
                <a:path w="952500" h="1536700">
                  <a:moveTo>
                    <a:pt x="701738" y="495300"/>
                  </a:moveTo>
                  <a:lnTo>
                    <a:pt x="255930" y="495300"/>
                  </a:lnTo>
                  <a:lnTo>
                    <a:pt x="395008" y="571500"/>
                  </a:lnTo>
                  <a:lnTo>
                    <a:pt x="408652" y="533400"/>
                  </a:lnTo>
                  <a:lnTo>
                    <a:pt x="424562" y="520700"/>
                  </a:lnTo>
                  <a:lnTo>
                    <a:pt x="452952" y="508000"/>
                  </a:lnTo>
                  <a:lnTo>
                    <a:pt x="676992" y="508000"/>
                  </a:lnTo>
                  <a:lnTo>
                    <a:pt x="701738" y="495300"/>
                  </a:lnTo>
                  <a:close/>
                </a:path>
                <a:path w="952500" h="1536700">
                  <a:moveTo>
                    <a:pt x="676992" y="508000"/>
                  </a:moveTo>
                  <a:lnTo>
                    <a:pt x="504037" y="508000"/>
                  </a:lnTo>
                  <a:lnTo>
                    <a:pt x="527263" y="520700"/>
                  </a:lnTo>
                  <a:lnTo>
                    <a:pt x="540794" y="520700"/>
                  </a:lnTo>
                  <a:lnTo>
                    <a:pt x="548253" y="546100"/>
                  </a:lnTo>
                  <a:lnTo>
                    <a:pt x="553262" y="571500"/>
                  </a:lnTo>
                  <a:lnTo>
                    <a:pt x="676992" y="508000"/>
                  </a:lnTo>
                  <a:close/>
                </a:path>
                <a:path w="952500" h="1536700">
                  <a:moveTo>
                    <a:pt x="507350" y="457200"/>
                  </a:moveTo>
                  <a:lnTo>
                    <a:pt x="416252" y="457200"/>
                  </a:lnTo>
                  <a:lnTo>
                    <a:pt x="370725" y="482600"/>
                  </a:lnTo>
                  <a:lnTo>
                    <a:pt x="601192" y="482600"/>
                  </a:lnTo>
                  <a:lnTo>
                    <a:pt x="507350" y="457200"/>
                  </a:lnTo>
                  <a:close/>
                </a:path>
                <a:path w="952500" h="1536700">
                  <a:moveTo>
                    <a:pt x="777500" y="304800"/>
                  </a:moveTo>
                  <a:lnTo>
                    <a:pt x="351815" y="304800"/>
                  </a:lnTo>
                  <a:lnTo>
                    <a:pt x="381573" y="330200"/>
                  </a:lnTo>
                  <a:lnTo>
                    <a:pt x="413061" y="330200"/>
                  </a:lnTo>
                  <a:lnTo>
                    <a:pt x="445748" y="342900"/>
                  </a:lnTo>
                  <a:lnTo>
                    <a:pt x="718019" y="342900"/>
                  </a:lnTo>
                  <a:lnTo>
                    <a:pt x="700028" y="393700"/>
                  </a:lnTo>
                  <a:lnTo>
                    <a:pt x="673507" y="431800"/>
                  </a:lnTo>
                  <a:lnTo>
                    <a:pt x="640036" y="457200"/>
                  </a:lnTo>
                  <a:lnTo>
                    <a:pt x="601192" y="482600"/>
                  </a:lnTo>
                  <a:lnTo>
                    <a:pt x="767174" y="482600"/>
                  </a:lnTo>
                  <a:lnTo>
                    <a:pt x="770038" y="469900"/>
                  </a:lnTo>
                  <a:lnTo>
                    <a:pt x="774641" y="431800"/>
                  </a:lnTo>
                  <a:lnTo>
                    <a:pt x="776074" y="381000"/>
                  </a:lnTo>
                  <a:lnTo>
                    <a:pt x="778014" y="330200"/>
                  </a:lnTo>
                  <a:lnTo>
                    <a:pt x="777500" y="304800"/>
                  </a:lnTo>
                  <a:close/>
                </a:path>
                <a:path w="952500" h="1536700">
                  <a:moveTo>
                    <a:pt x="368426" y="228600"/>
                  </a:moveTo>
                  <a:lnTo>
                    <a:pt x="309041" y="228600"/>
                  </a:lnTo>
                  <a:lnTo>
                    <a:pt x="298930" y="254000"/>
                  </a:lnTo>
                  <a:lnTo>
                    <a:pt x="284059" y="266700"/>
                  </a:lnTo>
                  <a:lnTo>
                    <a:pt x="263937" y="279400"/>
                  </a:lnTo>
                  <a:lnTo>
                    <a:pt x="418106" y="279400"/>
                  </a:lnTo>
                  <a:lnTo>
                    <a:pt x="396832" y="266700"/>
                  </a:lnTo>
                  <a:lnTo>
                    <a:pt x="379856" y="254000"/>
                  </a:lnTo>
                  <a:lnTo>
                    <a:pt x="368426" y="228600"/>
                  </a:lnTo>
                  <a:close/>
                </a:path>
                <a:path w="952500" h="1536700">
                  <a:moveTo>
                    <a:pt x="479523" y="0"/>
                  </a:moveTo>
                  <a:lnTo>
                    <a:pt x="349902" y="0"/>
                  </a:lnTo>
                  <a:lnTo>
                    <a:pt x="311832" y="25400"/>
                  </a:lnTo>
                  <a:lnTo>
                    <a:pt x="278599" y="63500"/>
                  </a:lnTo>
                  <a:lnTo>
                    <a:pt x="482180" y="63500"/>
                  </a:lnTo>
                  <a:lnTo>
                    <a:pt x="529422" y="76200"/>
                  </a:lnTo>
                  <a:lnTo>
                    <a:pt x="571951" y="88900"/>
                  </a:lnTo>
                  <a:lnTo>
                    <a:pt x="610101" y="114300"/>
                  </a:lnTo>
                  <a:lnTo>
                    <a:pt x="644201" y="152400"/>
                  </a:lnTo>
                  <a:lnTo>
                    <a:pt x="674586" y="190500"/>
                  </a:lnTo>
                  <a:lnTo>
                    <a:pt x="701586" y="228600"/>
                  </a:lnTo>
                  <a:lnTo>
                    <a:pt x="715902" y="266700"/>
                  </a:lnTo>
                  <a:lnTo>
                    <a:pt x="721283" y="279400"/>
                  </a:lnTo>
                  <a:lnTo>
                    <a:pt x="776986" y="279400"/>
                  </a:lnTo>
                  <a:lnTo>
                    <a:pt x="767369" y="241300"/>
                  </a:lnTo>
                  <a:lnTo>
                    <a:pt x="750347" y="190500"/>
                  </a:lnTo>
                  <a:lnTo>
                    <a:pt x="727104" y="152400"/>
                  </a:lnTo>
                  <a:lnTo>
                    <a:pt x="698825" y="114300"/>
                  </a:lnTo>
                  <a:lnTo>
                    <a:pt x="666693" y="88900"/>
                  </a:lnTo>
                  <a:lnTo>
                    <a:pt x="631894" y="63500"/>
                  </a:lnTo>
                  <a:lnTo>
                    <a:pt x="595610" y="38100"/>
                  </a:lnTo>
                  <a:lnTo>
                    <a:pt x="523328" y="12700"/>
                  </a:lnTo>
                  <a:lnTo>
                    <a:pt x="479523" y="0"/>
                  </a:lnTo>
                  <a:close/>
                </a:path>
                <a:path w="952500" h="1536700">
                  <a:moveTo>
                    <a:pt x="356236" y="215900"/>
                  </a:moveTo>
                  <a:lnTo>
                    <a:pt x="320686" y="215900"/>
                  </a:lnTo>
                  <a:lnTo>
                    <a:pt x="313296" y="228600"/>
                  </a:lnTo>
                  <a:lnTo>
                    <a:pt x="364206" y="228600"/>
                  </a:lnTo>
                  <a:lnTo>
                    <a:pt x="356236" y="215900"/>
                  </a:lnTo>
                  <a:close/>
                </a:path>
                <a:path w="952500" h="1536700">
                  <a:moveTo>
                    <a:pt x="329913" y="127000"/>
                  </a:moveTo>
                  <a:lnTo>
                    <a:pt x="240093" y="127000"/>
                  </a:lnTo>
                  <a:lnTo>
                    <a:pt x="326897" y="139700"/>
                  </a:lnTo>
                  <a:lnTo>
                    <a:pt x="329913" y="12700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object 9">
              <a:extLst>
                <a:ext uri="{FF2B5EF4-FFF2-40B4-BE49-F238E27FC236}">
                  <a16:creationId xmlns:a16="http://schemas.microsoft.com/office/drawing/2014/main" id="{E23B0BEA-ECD4-4DF1-BB5F-FC3B57363032}"/>
                </a:ext>
              </a:extLst>
            </p:cNvPr>
            <p:cNvSpPr/>
            <p:nvPr/>
          </p:nvSpPr>
          <p:spPr>
            <a:xfrm>
              <a:off x="5969544" y="2778324"/>
              <a:ext cx="497205" cy="118300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85469DA4-09B5-42C1-945A-909AD9C085CE}"/>
              </a:ext>
              <a:ext uri="{C183D7F6-B498-43B3-948B-1728B52AA6E4}">
                <adec:decorative xmlns:adec="http://schemas.microsoft.com/office/drawing/2017/decorative" val="1"/>
              </a:ext>
            </a:extLst>
          </p:cNvPr>
          <p:cNvGrpSpPr/>
          <p:nvPr userDrawn="1"/>
        </p:nvGrpSpPr>
        <p:grpSpPr>
          <a:xfrm>
            <a:off x="8799289" y="5651087"/>
            <a:ext cx="396765" cy="927265"/>
            <a:chOff x="8799289" y="5651087"/>
            <a:chExt cx="396765" cy="927265"/>
          </a:xfrm>
        </p:grpSpPr>
        <p:grpSp>
          <p:nvGrpSpPr>
            <p:cNvPr id="38" name="Group 37" descr="Icon of a person holding a newborn baby" title="New Parent">
              <a:extLst>
                <a:ext uri="{FF2B5EF4-FFF2-40B4-BE49-F238E27FC236}">
                  <a16:creationId xmlns:a16="http://schemas.microsoft.com/office/drawing/2014/main" id="{8D7E5BDC-86AA-4A35-B061-AB8762DEF91B}"/>
                </a:ext>
              </a:extLst>
            </p:cNvPr>
            <p:cNvGrpSpPr>
              <a:grpSpLocks noChangeAspect="1"/>
            </p:cNvGrpSpPr>
            <p:nvPr/>
          </p:nvGrpSpPr>
          <p:grpSpPr>
            <a:xfrm>
              <a:off x="8799289" y="5651087"/>
              <a:ext cx="396765" cy="640538"/>
              <a:chOff x="9036285" y="1766858"/>
              <a:chExt cx="951865" cy="1536700"/>
            </a:xfrm>
            <a:solidFill>
              <a:schemeClr val="bg1"/>
            </a:solidFill>
          </p:grpSpPr>
          <p:sp>
            <p:nvSpPr>
              <p:cNvPr id="40" name="object 15">
                <a:extLst>
                  <a:ext uri="{FF2B5EF4-FFF2-40B4-BE49-F238E27FC236}">
                    <a16:creationId xmlns:a16="http://schemas.microsoft.com/office/drawing/2014/main" id="{295ED71E-AECD-42CF-B2AD-89A68838D25F}"/>
                  </a:ext>
                </a:extLst>
              </p:cNvPr>
              <p:cNvSpPr/>
              <p:nvPr/>
            </p:nvSpPr>
            <p:spPr>
              <a:xfrm>
                <a:off x="9036285" y="1766858"/>
                <a:ext cx="951865" cy="1536700"/>
              </a:xfrm>
              <a:custGeom>
                <a:avLst/>
                <a:gdLst/>
                <a:ahLst/>
                <a:cxnLst/>
                <a:rect l="l" t="t" r="r" b="b"/>
                <a:pathLst>
                  <a:path w="951865" h="1536700">
                    <a:moveTo>
                      <a:pt x="755986" y="762000"/>
                    </a:moveTo>
                    <a:lnTo>
                      <a:pt x="667851" y="762000"/>
                    </a:lnTo>
                    <a:lnTo>
                      <a:pt x="714161" y="800100"/>
                    </a:lnTo>
                    <a:lnTo>
                      <a:pt x="755223" y="825500"/>
                    </a:lnTo>
                    <a:lnTo>
                      <a:pt x="791018" y="863600"/>
                    </a:lnTo>
                    <a:lnTo>
                      <a:pt x="821528" y="901700"/>
                    </a:lnTo>
                    <a:lnTo>
                      <a:pt x="846735" y="939800"/>
                    </a:lnTo>
                    <a:lnTo>
                      <a:pt x="866620" y="990600"/>
                    </a:lnTo>
                    <a:lnTo>
                      <a:pt x="881165" y="1041400"/>
                    </a:lnTo>
                    <a:lnTo>
                      <a:pt x="890353" y="1092200"/>
                    </a:lnTo>
                    <a:lnTo>
                      <a:pt x="894165" y="1143000"/>
                    </a:lnTo>
                    <a:lnTo>
                      <a:pt x="894950" y="1193800"/>
                    </a:lnTo>
                    <a:lnTo>
                      <a:pt x="895221" y="1231900"/>
                    </a:lnTo>
                    <a:lnTo>
                      <a:pt x="895331" y="1308100"/>
                    </a:lnTo>
                    <a:lnTo>
                      <a:pt x="895225" y="1346200"/>
                    </a:lnTo>
                    <a:lnTo>
                      <a:pt x="895003" y="1397000"/>
                    </a:lnTo>
                    <a:lnTo>
                      <a:pt x="894815" y="1447800"/>
                    </a:lnTo>
                    <a:lnTo>
                      <a:pt x="894774" y="1498600"/>
                    </a:lnTo>
                    <a:lnTo>
                      <a:pt x="894991" y="1511300"/>
                    </a:lnTo>
                    <a:lnTo>
                      <a:pt x="895489" y="1524000"/>
                    </a:lnTo>
                    <a:lnTo>
                      <a:pt x="896096" y="1536700"/>
                    </a:lnTo>
                    <a:lnTo>
                      <a:pt x="951188" y="1536700"/>
                    </a:lnTo>
                    <a:lnTo>
                      <a:pt x="951246" y="1485900"/>
                    </a:lnTo>
                    <a:lnTo>
                      <a:pt x="951678" y="1346200"/>
                    </a:lnTo>
                    <a:lnTo>
                      <a:pt x="951561" y="1231900"/>
                    </a:lnTo>
                    <a:lnTo>
                      <a:pt x="951345" y="1193800"/>
                    </a:lnTo>
                    <a:lnTo>
                      <a:pt x="950807" y="1143000"/>
                    </a:lnTo>
                    <a:lnTo>
                      <a:pt x="948076" y="1092200"/>
                    </a:lnTo>
                    <a:lnTo>
                      <a:pt x="941212" y="1041400"/>
                    </a:lnTo>
                    <a:lnTo>
                      <a:pt x="930166" y="1003300"/>
                    </a:lnTo>
                    <a:lnTo>
                      <a:pt x="914888" y="952500"/>
                    </a:lnTo>
                    <a:lnTo>
                      <a:pt x="895329" y="914400"/>
                    </a:lnTo>
                    <a:lnTo>
                      <a:pt x="871439" y="876300"/>
                    </a:lnTo>
                    <a:lnTo>
                      <a:pt x="843169" y="838200"/>
                    </a:lnTo>
                    <a:lnTo>
                      <a:pt x="810467" y="800100"/>
                    </a:lnTo>
                    <a:lnTo>
                      <a:pt x="773286" y="774700"/>
                    </a:lnTo>
                    <a:lnTo>
                      <a:pt x="755986" y="762000"/>
                    </a:lnTo>
                    <a:close/>
                  </a:path>
                  <a:path w="951865" h="1536700">
                    <a:moveTo>
                      <a:pt x="626716" y="673100"/>
                    </a:moveTo>
                    <a:lnTo>
                      <a:pt x="326488" y="673100"/>
                    </a:lnTo>
                    <a:lnTo>
                      <a:pt x="327554" y="685800"/>
                    </a:lnTo>
                    <a:lnTo>
                      <a:pt x="314092" y="685800"/>
                    </a:lnTo>
                    <a:lnTo>
                      <a:pt x="307031" y="698500"/>
                    </a:lnTo>
                    <a:lnTo>
                      <a:pt x="258295" y="711200"/>
                    </a:lnTo>
                    <a:lnTo>
                      <a:pt x="213668" y="749300"/>
                    </a:lnTo>
                    <a:lnTo>
                      <a:pt x="173169" y="774700"/>
                    </a:lnTo>
                    <a:lnTo>
                      <a:pt x="136817" y="800100"/>
                    </a:lnTo>
                    <a:lnTo>
                      <a:pt x="104630" y="838200"/>
                    </a:lnTo>
                    <a:lnTo>
                      <a:pt x="76629" y="876300"/>
                    </a:lnTo>
                    <a:lnTo>
                      <a:pt x="52833" y="927100"/>
                    </a:lnTo>
                    <a:lnTo>
                      <a:pt x="33260" y="965200"/>
                    </a:lnTo>
                    <a:lnTo>
                      <a:pt x="17929" y="1016000"/>
                    </a:lnTo>
                    <a:lnTo>
                      <a:pt x="6860" y="1066800"/>
                    </a:lnTo>
                    <a:lnTo>
                      <a:pt x="72" y="1117600"/>
                    </a:lnTo>
                    <a:lnTo>
                      <a:pt x="0" y="1143000"/>
                    </a:lnTo>
                    <a:lnTo>
                      <a:pt x="4444" y="1155700"/>
                    </a:lnTo>
                    <a:lnTo>
                      <a:pt x="15056" y="1168400"/>
                    </a:lnTo>
                    <a:lnTo>
                      <a:pt x="33486" y="1168400"/>
                    </a:lnTo>
                    <a:lnTo>
                      <a:pt x="159994" y="1206500"/>
                    </a:lnTo>
                    <a:lnTo>
                      <a:pt x="202066" y="1231900"/>
                    </a:lnTo>
                    <a:lnTo>
                      <a:pt x="471115" y="1308100"/>
                    </a:lnTo>
                    <a:lnTo>
                      <a:pt x="520844" y="1320800"/>
                    </a:lnTo>
                    <a:lnTo>
                      <a:pt x="565968" y="1308100"/>
                    </a:lnTo>
                    <a:lnTo>
                      <a:pt x="602124" y="1282700"/>
                    </a:lnTo>
                    <a:lnTo>
                      <a:pt x="609733" y="1270000"/>
                    </a:lnTo>
                    <a:lnTo>
                      <a:pt x="511184" y="1270000"/>
                    </a:lnTo>
                    <a:lnTo>
                      <a:pt x="509870" y="1244600"/>
                    </a:lnTo>
                    <a:lnTo>
                      <a:pt x="447760" y="1244600"/>
                    </a:lnTo>
                    <a:lnTo>
                      <a:pt x="346122" y="1219200"/>
                    </a:lnTo>
                    <a:lnTo>
                      <a:pt x="368419" y="1181100"/>
                    </a:lnTo>
                    <a:lnTo>
                      <a:pt x="254821" y="1181100"/>
                    </a:lnTo>
                    <a:lnTo>
                      <a:pt x="215839" y="1168400"/>
                    </a:lnTo>
                    <a:lnTo>
                      <a:pt x="184070" y="1155700"/>
                    </a:lnTo>
                    <a:lnTo>
                      <a:pt x="169704" y="1130300"/>
                    </a:lnTo>
                    <a:lnTo>
                      <a:pt x="79270" y="1130300"/>
                    </a:lnTo>
                    <a:lnTo>
                      <a:pt x="66345" y="1117600"/>
                    </a:lnTo>
                    <a:lnTo>
                      <a:pt x="60629" y="1104900"/>
                    </a:lnTo>
                    <a:lnTo>
                      <a:pt x="61159" y="1079500"/>
                    </a:lnTo>
                    <a:lnTo>
                      <a:pt x="70939" y="1028700"/>
                    </a:lnTo>
                    <a:lnTo>
                      <a:pt x="86150" y="990600"/>
                    </a:lnTo>
                    <a:lnTo>
                      <a:pt x="106776" y="939800"/>
                    </a:lnTo>
                    <a:lnTo>
                      <a:pt x="132800" y="901700"/>
                    </a:lnTo>
                    <a:lnTo>
                      <a:pt x="167204" y="850900"/>
                    </a:lnTo>
                    <a:lnTo>
                      <a:pt x="206477" y="812800"/>
                    </a:lnTo>
                    <a:lnTo>
                      <a:pt x="251006" y="787400"/>
                    </a:lnTo>
                    <a:lnTo>
                      <a:pt x="301176" y="762000"/>
                    </a:lnTo>
                    <a:lnTo>
                      <a:pt x="371735" y="762000"/>
                    </a:lnTo>
                    <a:lnTo>
                      <a:pt x="359457" y="736600"/>
                    </a:lnTo>
                    <a:lnTo>
                      <a:pt x="406453" y="723900"/>
                    </a:lnTo>
                    <a:lnTo>
                      <a:pt x="702177" y="723900"/>
                    </a:lnTo>
                    <a:lnTo>
                      <a:pt x="626716" y="673100"/>
                    </a:lnTo>
                    <a:close/>
                  </a:path>
                  <a:path w="951865" h="1536700">
                    <a:moveTo>
                      <a:pt x="608513" y="1130300"/>
                    </a:moveTo>
                    <a:lnTo>
                      <a:pt x="503957" y="1130300"/>
                    </a:lnTo>
                    <a:lnTo>
                      <a:pt x="531960" y="1143000"/>
                    </a:lnTo>
                    <a:lnTo>
                      <a:pt x="553106" y="1155700"/>
                    </a:lnTo>
                    <a:lnTo>
                      <a:pt x="566804" y="1168400"/>
                    </a:lnTo>
                    <a:lnTo>
                      <a:pt x="572461" y="1193800"/>
                    </a:lnTo>
                    <a:lnTo>
                      <a:pt x="569800" y="1219200"/>
                    </a:lnTo>
                    <a:lnTo>
                      <a:pt x="558858" y="1244600"/>
                    </a:lnTo>
                    <a:lnTo>
                      <a:pt x="539398" y="1257300"/>
                    </a:lnTo>
                    <a:lnTo>
                      <a:pt x="511184" y="1270000"/>
                    </a:lnTo>
                    <a:lnTo>
                      <a:pt x="609733" y="1270000"/>
                    </a:lnTo>
                    <a:lnTo>
                      <a:pt x="624950" y="1244600"/>
                    </a:lnTo>
                    <a:lnTo>
                      <a:pt x="630924" y="1193800"/>
                    </a:lnTo>
                    <a:lnTo>
                      <a:pt x="618356" y="1143000"/>
                    </a:lnTo>
                    <a:lnTo>
                      <a:pt x="608513" y="1130300"/>
                    </a:lnTo>
                    <a:close/>
                  </a:path>
                  <a:path w="951865" h="1536700">
                    <a:moveTo>
                      <a:pt x="588828" y="1104900"/>
                    </a:moveTo>
                    <a:lnTo>
                      <a:pt x="413013" y="1104900"/>
                    </a:lnTo>
                    <a:lnTo>
                      <a:pt x="434839" y="1117600"/>
                    </a:lnTo>
                    <a:lnTo>
                      <a:pt x="447574" y="1143000"/>
                    </a:lnTo>
                    <a:lnTo>
                      <a:pt x="451716" y="1181100"/>
                    </a:lnTo>
                    <a:lnTo>
                      <a:pt x="447760" y="1244600"/>
                    </a:lnTo>
                    <a:lnTo>
                      <a:pt x="509870" y="1244600"/>
                    </a:lnTo>
                    <a:lnTo>
                      <a:pt x="503957" y="1130300"/>
                    </a:lnTo>
                    <a:lnTo>
                      <a:pt x="608513" y="1130300"/>
                    </a:lnTo>
                    <a:lnTo>
                      <a:pt x="588828" y="1104900"/>
                    </a:lnTo>
                    <a:close/>
                  </a:path>
                  <a:path w="951865" h="1536700">
                    <a:moveTo>
                      <a:pt x="371509" y="977900"/>
                    </a:moveTo>
                    <a:lnTo>
                      <a:pt x="250923" y="977900"/>
                    </a:lnTo>
                    <a:lnTo>
                      <a:pt x="288811" y="990600"/>
                    </a:lnTo>
                    <a:lnTo>
                      <a:pt x="319734" y="1016000"/>
                    </a:lnTo>
                    <a:lnTo>
                      <a:pt x="340566" y="1041400"/>
                    </a:lnTo>
                    <a:lnTo>
                      <a:pt x="348179" y="1079500"/>
                    </a:lnTo>
                    <a:lnTo>
                      <a:pt x="341075" y="1117600"/>
                    </a:lnTo>
                    <a:lnTo>
                      <a:pt x="321493" y="1143000"/>
                    </a:lnTo>
                    <a:lnTo>
                      <a:pt x="291915" y="1168400"/>
                    </a:lnTo>
                    <a:lnTo>
                      <a:pt x="254821" y="1181100"/>
                    </a:lnTo>
                    <a:lnTo>
                      <a:pt x="368419" y="1181100"/>
                    </a:lnTo>
                    <a:lnTo>
                      <a:pt x="413013" y="1104900"/>
                    </a:lnTo>
                    <a:lnTo>
                      <a:pt x="588828" y="1104900"/>
                    </a:lnTo>
                    <a:lnTo>
                      <a:pt x="543924" y="1079500"/>
                    </a:lnTo>
                    <a:lnTo>
                      <a:pt x="521066" y="1079500"/>
                    </a:lnTo>
                    <a:lnTo>
                      <a:pt x="509543" y="1066800"/>
                    </a:lnTo>
                    <a:lnTo>
                      <a:pt x="497988" y="1066800"/>
                    </a:lnTo>
                    <a:lnTo>
                      <a:pt x="459763" y="1054100"/>
                    </a:lnTo>
                    <a:lnTo>
                      <a:pt x="423528" y="1041400"/>
                    </a:lnTo>
                    <a:lnTo>
                      <a:pt x="392904" y="1016000"/>
                    </a:lnTo>
                    <a:lnTo>
                      <a:pt x="371509" y="977900"/>
                    </a:lnTo>
                    <a:close/>
                  </a:path>
                  <a:path w="951865" h="1536700">
                    <a:moveTo>
                      <a:pt x="290400" y="838200"/>
                    </a:moveTo>
                    <a:lnTo>
                      <a:pt x="255266" y="838200"/>
                    </a:lnTo>
                    <a:lnTo>
                      <a:pt x="255559" y="850900"/>
                    </a:lnTo>
                    <a:lnTo>
                      <a:pt x="255439" y="863600"/>
                    </a:lnTo>
                    <a:lnTo>
                      <a:pt x="256464" y="876300"/>
                    </a:lnTo>
                    <a:lnTo>
                      <a:pt x="260194" y="876300"/>
                    </a:lnTo>
                    <a:lnTo>
                      <a:pt x="274521" y="901700"/>
                    </a:lnTo>
                    <a:lnTo>
                      <a:pt x="270258" y="914400"/>
                    </a:lnTo>
                    <a:lnTo>
                      <a:pt x="253889" y="927100"/>
                    </a:lnTo>
                    <a:lnTo>
                      <a:pt x="231898" y="927100"/>
                    </a:lnTo>
                    <a:lnTo>
                      <a:pt x="182392" y="939800"/>
                    </a:lnTo>
                    <a:lnTo>
                      <a:pt x="143211" y="965200"/>
                    </a:lnTo>
                    <a:lnTo>
                      <a:pt x="115616" y="1003300"/>
                    </a:lnTo>
                    <a:lnTo>
                      <a:pt x="100871" y="1054100"/>
                    </a:lnTo>
                    <a:lnTo>
                      <a:pt x="100237" y="1104900"/>
                    </a:lnTo>
                    <a:lnTo>
                      <a:pt x="101190" y="1117600"/>
                    </a:lnTo>
                    <a:lnTo>
                      <a:pt x="100364" y="1117600"/>
                    </a:lnTo>
                    <a:lnTo>
                      <a:pt x="100364" y="1130300"/>
                    </a:lnTo>
                    <a:lnTo>
                      <a:pt x="169704" y="1130300"/>
                    </a:lnTo>
                    <a:lnTo>
                      <a:pt x="162521" y="1117600"/>
                    </a:lnTo>
                    <a:lnTo>
                      <a:pt x="154199" y="1079500"/>
                    </a:lnTo>
                    <a:lnTo>
                      <a:pt x="161554" y="1041400"/>
                    </a:lnTo>
                    <a:lnTo>
                      <a:pt x="182577" y="1016000"/>
                    </a:lnTo>
                    <a:lnTo>
                      <a:pt x="213592" y="990600"/>
                    </a:lnTo>
                    <a:lnTo>
                      <a:pt x="250923" y="977900"/>
                    </a:lnTo>
                    <a:lnTo>
                      <a:pt x="369121" y="977900"/>
                    </a:lnTo>
                    <a:lnTo>
                      <a:pt x="361667" y="965200"/>
                    </a:lnTo>
                    <a:lnTo>
                      <a:pt x="355075" y="965200"/>
                    </a:lnTo>
                    <a:lnTo>
                      <a:pt x="342560" y="952500"/>
                    </a:lnTo>
                    <a:lnTo>
                      <a:pt x="334782" y="939800"/>
                    </a:lnTo>
                    <a:lnTo>
                      <a:pt x="331588" y="927100"/>
                    </a:lnTo>
                    <a:lnTo>
                      <a:pt x="332825" y="914400"/>
                    </a:lnTo>
                    <a:lnTo>
                      <a:pt x="331345" y="876300"/>
                    </a:lnTo>
                    <a:lnTo>
                      <a:pt x="316482" y="863600"/>
                    </a:lnTo>
                    <a:lnTo>
                      <a:pt x="290400" y="838200"/>
                    </a:lnTo>
                    <a:close/>
                  </a:path>
                  <a:path w="951865" h="1536700">
                    <a:moveTo>
                      <a:pt x="371735" y="762000"/>
                    </a:moveTo>
                    <a:lnTo>
                      <a:pt x="301176" y="762000"/>
                    </a:lnTo>
                    <a:lnTo>
                      <a:pt x="323961" y="800100"/>
                    </a:lnTo>
                    <a:lnTo>
                      <a:pt x="352637" y="838200"/>
                    </a:lnTo>
                    <a:lnTo>
                      <a:pt x="387537" y="863600"/>
                    </a:lnTo>
                    <a:lnTo>
                      <a:pt x="428993" y="889000"/>
                    </a:lnTo>
                    <a:lnTo>
                      <a:pt x="524677" y="889000"/>
                    </a:lnTo>
                    <a:lnTo>
                      <a:pt x="565133" y="863600"/>
                    </a:lnTo>
                    <a:lnTo>
                      <a:pt x="598981" y="838200"/>
                    </a:lnTo>
                    <a:lnTo>
                      <a:pt x="481694" y="838200"/>
                    </a:lnTo>
                    <a:lnTo>
                      <a:pt x="441188" y="825500"/>
                    </a:lnTo>
                    <a:lnTo>
                      <a:pt x="405850" y="812800"/>
                    </a:lnTo>
                    <a:lnTo>
                      <a:pt x="377874" y="774700"/>
                    </a:lnTo>
                    <a:lnTo>
                      <a:pt x="371735" y="762000"/>
                    </a:lnTo>
                    <a:close/>
                  </a:path>
                  <a:path w="951865" h="1536700">
                    <a:moveTo>
                      <a:pt x="702177" y="723900"/>
                    </a:moveTo>
                    <a:lnTo>
                      <a:pt x="544528" y="723900"/>
                    </a:lnTo>
                    <a:lnTo>
                      <a:pt x="590178" y="736600"/>
                    </a:lnTo>
                    <a:lnTo>
                      <a:pt x="576603" y="774700"/>
                    </a:lnTo>
                    <a:lnTo>
                      <a:pt x="552595" y="800100"/>
                    </a:lnTo>
                    <a:lnTo>
                      <a:pt x="520258" y="825500"/>
                    </a:lnTo>
                    <a:lnTo>
                      <a:pt x="481694" y="838200"/>
                    </a:lnTo>
                    <a:lnTo>
                      <a:pt x="598981" y="838200"/>
                    </a:lnTo>
                    <a:lnTo>
                      <a:pt x="626495" y="800100"/>
                    </a:lnTo>
                    <a:lnTo>
                      <a:pt x="647950" y="762000"/>
                    </a:lnTo>
                    <a:lnTo>
                      <a:pt x="755986" y="762000"/>
                    </a:lnTo>
                    <a:lnTo>
                      <a:pt x="738685" y="749300"/>
                    </a:lnTo>
                    <a:lnTo>
                      <a:pt x="702177" y="723900"/>
                    </a:lnTo>
                    <a:close/>
                  </a:path>
                  <a:path w="951865" h="1536700">
                    <a:moveTo>
                      <a:pt x="601701" y="12700"/>
                    </a:moveTo>
                    <a:lnTo>
                      <a:pt x="432560" y="12700"/>
                    </a:lnTo>
                    <a:lnTo>
                      <a:pt x="396401" y="25400"/>
                    </a:lnTo>
                    <a:lnTo>
                      <a:pt x="351709" y="38100"/>
                    </a:lnTo>
                    <a:lnTo>
                      <a:pt x="311077" y="63500"/>
                    </a:lnTo>
                    <a:lnTo>
                      <a:pt x="275013" y="88900"/>
                    </a:lnTo>
                    <a:lnTo>
                      <a:pt x="244027" y="114300"/>
                    </a:lnTo>
                    <a:lnTo>
                      <a:pt x="218625" y="152400"/>
                    </a:lnTo>
                    <a:lnTo>
                      <a:pt x="199317" y="190500"/>
                    </a:lnTo>
                    <a:lnTo>
                      <a:pt x="186610" y="241300"/>
                    </a:lnTo>
                    <a:lnTo>
                      <a:pt x="180155" y="304800"/>
                    </a:lnTo>
                    <a:lnTo>
                      <a:pt x="179520" y="342900"/>
                    </a:lnTo>
                    <a:lnTo>
                      <a:pt x="178710" y="381000"/>
                    </a:lnTo>
                    <a:lnTo>
                      <a:pt x="179644" y="431800"/>
                    </a:lnTo>
                    <a:lnTo>
                      <a:pt x="186812" y="482600"/>
                    </a:lnTo>
                    <a:lnTo>
                      <a:pt x="200475" y="520700"/>
                    </a:lnTo>
                    <a:lnTo>
                      <a:pt x="220895" y="571500"/>
                    </a:lnTo>
                    <a:lnTo>
                      <a:pt x="248334" y="609600"/>
                    </a:lnTo>
                    <a:lnTo>
                      <a:pt x="283055" y="647700"/>
                    </a:lnTo>
                    <a:lnTo>
                      <a:pt x="325319" y="673100"/>
                    </a:lnTo>
                    <a:lnTo>
                      <a:pt x="637663" y="673100"/>
                    </a:lnTo>
                    <a:lnTo>
                      <a:pt x="643886" y="660400"/>
                    </a:lnTo>
                    <a:lnTo>
                      <a:pt x="466044" y="660400"/>
                    </a:lnTo>
                    <a:lnTo>
                      <a:pt x="421727" y="647700"/>
                    </a:lnTo>
                    <a:lnTo>
                      <a:pt x="380584" y="635000"/>
                    </a:lnTo>
                    <a:lnTo>
                      <a:pt x="343266" y="622300"/>
                    </a:lnTo>
                    <a:lnTo>
                      <a:pt x="310423" y="596900"/>
                    </a:lnTo>
                    <a:lnTo>
                      <a:pt x="282705" y="558800"/>
                    </a:lnTo>
                    <a:lnTo>
                      <a:pt x="260762" y="520700"/>
                    </a:lnTo>
                    <a:lnTo>
                      <a:pt x="245246" y="482600"/>
                    </a:lnTo>
                    <a:lnTo>
                      <a:pt x="241495" y="457200"/>
                    </a:lnTo>
                    <a:lnTo>
                      <a:pt x="239040" y="444500"/>
                    </a:lnTo>
                    <a:lnTo>
                      <a:pt x="237136" y="419100"/>
                    </a:lnTo>
                    <a:lnTo>
                      <a:pt x="235035" y="406400"/>
                    </a:lnTo>
                    <a:lnTo>
                      <a:pt x="237003" y="406400"/>
                    </a:lnTo>
                    <a:lnTo>
                      <a:pt x="237145" y="393700"/>
                    </a:lnTo>
                    <a:lnTo>
                      <a:pt x="237365" y="393700"/>
                    </a:lnTo>
                    <a:lnTo>
                      <a:pt x="237357" y="381000"/>
                    </a:lnTo>
                    <a:lnTo>
                      <a:pt x="236813" y="381000"/>
                    </a:lnTo>
                    <a:lnTo>
                      <a:pt x="237180" y="355600"/>
                    </a:lnTo>
                    <a:lnTo>
                      <a:pt x="243760" y="342900"/>
                    </a:lnTo>
                    <a:lnTo>
                      <a:pt x="514053" y="342900"/>
                    </a:lnTo>
                    <a:lnTo>
                      <a:pt x="573623" y="317500"/>
                    </a:lnTo>
                    <a:lnTo>
                      <a:pt x="776380" y="317500"/>
                    </a:lnTo>
                    <a:lnTo>
                      <a:pt x="776197" y="292100"/>
                    </a:lnTo>
                    <a:lnTo>
                      <a:pt x="241423" y="292100"/>
                    </a:lnTo>
                    <a:lnTo>
                      <a:pt x="245585" y="241300"/>
                    </a:lnTo>
                    <a:lnTo>
                      <a:pt x="258567" y="203200"/>
                    </a:lnTo>
                    <a:lnTo>
                      <a:pt x="279694" y="165100"/>
                    </a:lnTo>
                    <a:lnTo>
                      <a:pt x="308291" y="127000"/>
                    </a:lnTo>
                    <a:lnTo>
                      <a:pt x="343683" y="101600"/>
                    </a:lnTo>
                    <a:lnTo>
                      <a:pt x="385195" y="88900"/>
                    </a:lnTo>
                    <a:lnTo>
                      <a:pt x="432152" y="76200"/>
                    </a:lnTo>
                    <a:lnTo>
                      <a:pt x="457004" y="76200"/>
                    </a:lnTo>
                    <a:lnTo>
                      <a:pt x="482047" y="63500"/>
                    </a:lnTo>
                    <a:lnTo>
                      <a:pt x="641943" y="63500"/>
                    </a:lnTo>
                    <a:lnTo>
                      <a:pt x="624404" y="38100"/>
                    </a:lnTo>
                    <a:lnTo>
                      <a:pt x="601701" y="12700"/>
                    </a:lnTo>
                    <a:close/>
                  </a:path>
                  <a:path w="951865" h="1536700">
                    <a:moveTo>
                      <a:pt x="776380" y="317500"/>
                    </a:moveTo>
                    <a:lnTo>
                      <a:pt x="647963" y="317500"/>
                    </a:lnTo>
                    <a:lnTo>
                      <a:pt x="655845" y="330200"/>
                    </a:lnTo>
                    <a:lnTo>
                      <a:pt x="663990" y="330200"/>
                    </a:lnTo>
                    <a:lnTo>
                      <a:pt x="697445" y="342900"/>
                    </a:lnTo>
                    <a:lnTo>
                      <a:pt x="714344" y="355600"/>
                    </a:lnTo>
                    <a:lnTo>
                      <a:pt x="719820" y="381000"/>
                    </a:lnTo>
                    <a:lnTo>
                      <a:pt x="719006" y="419100"/>
                    </a:lnTo>
                    <a:lnTo>
                      <a:pt x="711796" y="469900"/>
                    </a:lnTo>
                    <a:lnTo>
                      <a:pt x="695472" y="520700"/>
                    </a:lnTo>
                    <a:lnTo>
                      <a:pt x="671056" y="558800"/>
                    </a:lnTo>
                    <a:lnTo>
                      <a:pt x="639568" y="596900"/>
                    </a:lnTo>
                    <a:lnTo>
                      <a:pt x="602029" y="622300"/>
                    </a:lnTo>
                    <a:lnTo>
                      <a:pt x="559462" y="647700"/>
                    </a:lnTo>
                    <a:lnTo>
                      <a:pt x="512885" y="660400"/>
                    </a:lnTo>
                    <a:lnTo>
                      <a:pt x="643886" y="660400"/>
                    </a:lnTo>
                    <a:lnTo>
                      <a:pt x="682613" y="635000"/>
                    </a:lnTo>
                    <a:lnTo>
                      <a:pt x="714871" y="596900"/>
                    </a:lnTo>
                    <a:lnTo>
                      <a:pt x="740473" y="558800"/>
                    </a:lnTo>
                    <a:lnTo>
                      <a:pt x="759226" y="520700"/>
                    </a:lnTo>
                    <a:lnTo>
                      <a:pt x="770943" y="469900"/>
                    </a:lnTo>
                    <a:lnTo>
                      <a:pt x="775433" y="419100"/>
                    </a:lnTo>
                    <a:lnTo>
                      <a:pt x="776112" y="368300"/>
                    </a:lnTo>
                    <a:lnTo>
                      <a:pt x="776380" y="317500"/>
                    </a:lnTo>
                    <a:close/>
                  </a:path>
                  <a:path w="951865" h="1536700">
                    <a:moveTo>
                      <a:pt x="642718" y="215900"/>
                    </a:moveTo>
                    <a:lnTo>
                      <a:pt x="590457" y="215900"/>
                    </a:lnTo>
                    <a:lnTo>
                      <a:pt x="581072" y="254000"/>
                    </a:lnTo>
                    <a:lnTo>
                      <a:pt x="561571" y="266700"/>
                    </a:lnTo>
                    <a:lnTo>
                      <a:pt x="534479" y="279400"/>
                    </a:lnTo>
                    <a:lnTo>
                      <a:pt x="502319" y="292100"/>
                    </a:lnTo>
                    <a:lnTo>
                      <a:pt x="776197" y="292100"/>
                    </a:lnTo>
                    <a:lnTo>
                      <a:pt x="776105" y="279400"/>
                    </a:lnTo>
                    <a:lnTo>
                      <a:pt x="685469" y="279400"/>
                    </a:lnTo>
                    <a:lnTo>
                      <a:pt x="665251" y="266700"/>
                    </a:lnTo>
                    <a:lnTo>
                      <a:pt x="651533" y="241300"/>
                    </a:lnTo>
                    <a:lnTo>
                      <a:pt x="642718" y="215900"/>
                    </a:lnTo>
                    <a:close/>
                  </a:path>
                  <a:path w="951865" h="1536700">
                    <a:moveTo>
                      <a:pt x="641943" y="63500"/>
                    </a:moveTo>
                    <a:lnTo>
                      <a:pt x="561677" y="63500"/>
                    </a:lnTo>
                    <a:lnTo>
                      <a:pt x="579422" y="76200"/>
                    </a:lnTo>
                    <a:lnTo>
                      <a:pt x="589026" y="88900"/>
                    </a:lnTo>
                    <a:lnTo>
                      <a:pt x="593937" y="114300"/>
                    </a:lnTo>
                    <a:lnTo>
                      <a:pt x="594610" y="127000"/>
                    </a:lnTo>
                    <a:lnTo>
                      <a:pt x="595524" y="127000"/>
                    </a:lnTo>
                    <a:lnTo>
                      <a:pt x="596274" y="139700"/>
                    </a:lnTo>
                    <a:lnTo>
                      <a:pt x="655209" y="139700"/>
                    </a:lnTo>
                    <a:lnTo>
                      <a:pt x="692831" y="152400"/>
                    </a:lnTo>
                    <a:lnTo>
                      <a:pt x="712738" y="177800"/>
                    </a:lnTo>
                    <a:lnTo>
                      <a:pt x="718524" y="228600"/>
                    </a:lnTo>
                    <a:lnTo>
                      <a:pt x="713787" y="279400"/>
                    </a:lnTo>
                    <a:lnTo>
                      <a:pt x="776105" y="279400"/>
                    </a:lnTo>
                    <a:lnTo>
                      <a:pt x="774785" y="215900"/>
                    </a:lnTo>
                    <a:lnTo>
                      <a:pt x="767687" y="165100"/>
                    </a:lnTo>
                    <a:lnTo>
                      <a:pt x="718196" y="101600"/>
                    </a:lnTo>
                    <a:lnTo>
                      <a:pt x="673350" y="88900"/>
                    </a:lnTo>
                    <a:lnTo>
                      <a:pt x="664024" y="88900"/>
                    </a:lnTo>
                    <a:lnTo>
                      <a:pt x="654970" y="76200"/>
                    </a:lnTo>
                    <a:lnTo>
                      <a:pt x="647254" y="76200"/>
                    </a:lnTo>
                    <a:lnTo>
                      <a:pt x="641943" y="63500"/>
                    </a:lnTo>
                    <a:close/>
                  </a:path>
                  <a:path w="951865" h="1536700">
                    <a:moveTo>
                      <a:pt x="544039" y="0"/>
                    </a:moveTo>
                    <a:lnTo>
                      <a:pt x="506765" y="12700"/>
                    </a:lnTo>
                    <a:lnTo>
                      <a:pt x="574643" y="12700"/>
                    </a:lnTo>
                    <a:lnTo>
                      <a:pt x="5440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object 21">
                <a:extLst>
                  <a:ext uri="{FF2B5EF4-FFF2-40B4-BE49-F238E27FC236}">
                    <a16:creationId xmlns:a16="http://schemas.microsoft.com/office/drawing/2014/main" id="{A6F38094-3668-4ED6-B9D7-B864C5E7EC8D}"/>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object 22">
                <a:extLst>
                  <a:ext uri="{FF2B5EF4-FFF2-40B4-BE49-F238E27FC236}">
                    <a16:creationId xmlns:a16="http://schemas.microsoft.com/office/drawing/2014/main" id="{6A0B7F2E-0D91-4EBC-A950-7F276C5B1196}"/>
                  </a:ext>
                </a:extLst>
              </p:cNvPr>
              <p:cNvSpPr/>
              <p:nvPr/>
            </p:nvSpPr>
            <p:spPr>
              <a:xfrm>
                <a:off x="9432652" y="2248955"/>
                <a:ext cx="162560" cy="77470"/>
              </a:xfrm>
              <a:custGeom>
                <a:avLst/>
                <a:gdLst/>
                <a:ahLst/>
                <a:cxnLst/>
                <a:rect l="l" t="t" r="r" b="b"/>
                <a:pathLst>
                  <a:path w="162559" h="77469">
                    <a:moveTo>
                      <a:pt x="162471" y="0"/>
                    </a:moveTo>
                    <a:lnTo>
                      <a:pt x="0" y="0"/>
                    </a:lnTo>
                    <a:lnTo>
                      <a:pt x="12007" y="34291"/>
                    </a:lnTo>
                    <a:lnTo>
                      <a:pt x="29825" y="58391"/>
                    </a:lnTo>
                    <a:lnTo>
                      <a:pt x="53349" y="72523"/>
                    </a:lnTo>
                    <a:lnTo>
                      <a:pt x="82473" y="76911"/>
                    </a:lnTo>
                    <a:lnTo>
                      <a:pt x="111911" y="71780"/>
                    </a:lnTo>
                    <a:lnTo>
                      <a:pt x="135226" y="57238"/>
                    </a:lnTo>
                    <a:lnTo>
                      <a:pt x="152164" y="33305"/>
                    </a:lnTo>
                    <a:lnTo>
                      <a:pt x="162471"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bject 23">
                <a:extLst>
                  <a:ext uri="{FF2B5EF4-FFF2-40B4-BE49-F238E27FC236}">
                    <a16:creationId xmlns:a16="http://schemas.microsoft.com/office/drawing/2014/main" id="{A2B3371B-D963-457B-8D1B-89C00780388B}"/>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object 9">
              <a:extLst>
                <a:ext uri="{FF2B5EF4-FFF2-40B4-BE49-F238E27FC236}">
                  <a16:creationId xmlns:a16="http://schemas.microsoft.com/office/drawing/2014/main" id="{DC8B08C8-6479-49F3-8D6C-F8C837F63A11}"/>
                </a:ext>
              </a:extLst>
            </p:cNvPr>
            <p:cNvSpPr/>
            <p:nvPr/>
          </p:nvSpPr>
          <p:spPr>
            <a:xfrm>
              <a:off x="8901170" y="6084617"/>
              <a:ext cx="207512" cy="49373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solidFill>
              <a:schemeClr val="bg1"/>
            </a:solid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9689338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22" presetClass="entr" presetSubtype="4"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down)">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P spid="11" grpId="0" animBg="1"/>
      <p:bldP spid="12" grpId="0" animBg="1"/>
    </p:bldLst>
  </p:timing>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2176836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F4BC02E-18E3-4248-BF99-03822B517717}"/>
              </a:ext>
            </a:extLst>
          </p:cNvPr>
          <p:cNvSpPr>
            <a:spLocks noGrp="1"/>
          </p:cNvSpPr>
          <p:nvPr>
            <p:ph type="title"/>
          </p:nvPr>
        </p:nvSpPr>
        <p:spPr>
          <a:xfrm>
            <a:off x="269240" y="289511"/>
            <a:ext cx="11655840" cy="553998"/>
          </a:xfrm>
        </p:spPr>
        <p:txBody>
          <a:bodyPr/>
          <a:lstStyle/>
          <a:p>
            <a:r>
              <a:rPr lang="en-US"/>
              <a:t>Click to edit Master title style</a:t>
            </a:r>
          </a:p>
        </p:txBody>
      </p:sp>
    </p:spTree>
    <p:extLst>
      <p:ext uri="{BB962C8B-B14F-4D97-AF65-F5344CB8AC3E}">
        <p14:creationId xmlns:p14="http://schemas.microsoft.com/office/powerpoint/2010/main" val="4154892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 White">
    <p:spTree>
      <p:nvGrpSpPr>
        <p:cNvPr id="1" name=""/>
        <p:cNvGrpSpPr/>
        <p:nvPr/>
      </p:nvGrpSpPr>
      <p:grpSpPr>
        <a:xfrm>
          <a:off x="0" y="0"/>
          <a:ext cx="0" cy="0"/>
          <a:chOff x="0" y="0"/>
          <a:chExt cx="0" cy="0"/>
        </a:xfrm>
      </p:grpSpPr>
      <p:sp>
        <p:nvSpPr>
          <p:cNvPr id="2" name="Title 1"/>
          <p:cNvSpPr>
            <a:spLocks noGrp="1"/>
          </p:cNvSpPr>
          <p:nvPr>
            <p:ph type="title"/>
          </p:nvPr>
        </p:nvSpPr>
        <p:spPr>
          <a:xfrm>
            <a:off x="528000" y="528000"/>
            <a:ext cx="11074400" cy="443198"/>
          </a:xfrm>
          <a:prstGeom prst="rect">
            <a:avLst/>
          </a:prstGeom>
        </p:spPr>
        <p:txBody>
          <a:bodyPr lIns="0"/>
          <a:lstStyle>
            <a:lvl1pPr>
              <a:lnSpc>
                <a:spcPct val="80000"/>
              </a:lnSpc>
              <a:defRPr b="0" i="0">
                <a:solidFill>
                  <a:schemeClr val="accent2"/>
                </a:solidFill>
                <a:latin typeface="Segoe UI Semilight" charset="0"/>
                <a:ea typeface="Segoe UI Semilight" charset="0"/>
                <a:cs typeface="Segoe UI Semilight" charset="0"/>
              </a:defRPr>
            </a:lvl1pPr>
          </a:lstStyle>
          <a:p>
            <a:r>
              <a:rPr lang="en-US"/>
              <a:t>Click to edit Master title style</a:t>
            </a:r>
          </a:p>
        </p:txBody>
      </p:sp>
    </p:spTree>
    <p:extLst>
      <p:ext uri="{BB962C8B-B14F-4D97-AF65-F5344CB8AC3E}">
        <p14:creationId xmlns:p14="http://schemas.microsoft.com/office/powerpoint/2010/main" val="3439598348"/>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00918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194A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ngage.</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change.</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sp>
        <p:nvSpPr>
          <p:cNvPr id="6" name="Freeform 5">
            <a:extLst>
              <a:ext uri="{FF2B5EF4-FFF2-40B4-BE49-F238E27FC236}">
                <a16:creationId xmlns:a16="http://schemas.microsoft.com/office/drawing/2014/main" id="{6072505D-B776-48EF-8209-D3B00EE7446D}"/>
              </a:ext>
            </a:extLst>
          </p:cNvPr>
          <p:cNvSpPr>
            <a:spLocks/>
          </p:cNvSpPr>
          <p:nvPr userDrawn="1"/>
        </p:nvSpPr>
        <p:spPr bwMode="auto">
          <a:xfrm>
            <a:off x="9247188" y="3717926"/>
            <a:ext cx="531812" cy="976313"/>
          </a:xfrm>
          <a:custGeom>
            <a:avLst/>
            <a:gdLst>
              <a:gd name="T0" fmla="*/ 335 w 335"/>
              <a:gd name="T1" fmla="*/ 432 h 615"/>
              <a:gd name="T2" fmla="*/ 0 w 335"/>
              <a:gd name="T3" fmla="*/ 615 h 615"/>
              <a:gd name="T4" fmla="*/ 0 w 335"/>
              <a:gd name="T5" fmla="*/ 183 h 615"/>
              <a:gd name="T6" fmla="*/ 335 w 335"/>
              <a:gd name="T7" fmla="*/ 0 h 615"/>
              <a:gd name="T8" fmla="*/ 335 w 335"/>
              <a:gd name="T9" fmla="*/ 432 h 615"/>
            </a:gdLst>
            <a:ahLst/>
            <a:cxnLst>
              <a:cxn ang="0">
                <a:pos x="T0" y="T1"/>
              </a:cxn>
              <a:cxn ang="0">
                <a:pos x="T2" y="T3"/>
              </a:cxn>
              <a:cxn ang="0">
                <a:pos x="T4" y="T5"/>
              </a:cxn>
              <a:cxn ang="0">
                <a:pos x="T6" y="T7"/>
              </a:cxn>
              <a:cxn ang="0">
                <a:pos x="T8" y="T9"/>
              </a:cxn>
            </a:cxnLst>
            <a:rect l="0" t="0" r="r" b="b"/>
            <a:pathLst>
              <a:path w="335" h="615">
                <a:moveTo>
                  <a:pt x="335" y="432"/>
                </a:moveTo>
                <a:lnTo>
                  <a:pt x="0" y="615"/>
                </a:lnTo>
                <a:lnTo>
                  <a:pt x="0" y="183"/>
                </a:lnTo>
                <a:lnTo>
                  <a:pt x="335" y="0"/>
                </a:lnTo>
                <a:lnTo>
                  <a:pt x="335" y="432"/>
                </a:lnTo>
                <a:close/>
              </a:path>
            </a:pathLst>
          </a:custGeom>
          <a:solidFill>
            <a:srgbClr val="00B5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DAB048E1-261F-4FA0-BD85-A43B774B0DA7}"/>
              </a:ext>
            </a:extLst>
          </p:cNvPr>
          <p:cNvSpPr>
            <a:spLocks/>
          </p:cNvSpPr>
          <p:nvPr userDrawn="1"/>
        </p:nvSpPr>
        <p:spPr bwMode="auto">
          <a:xfrm>
            <a:off x="9779000" y="3717926"/>
            <a:ext cx="531812" cy="976313"/>
          </a:xfrm>
          <a:custGeom>
            <a:avLst/>
            <a:gdLst>
              <a:gd name="T0" fmla="*/ 0 w 335"/>
              <a:gd name="T1" fmla="*/ 432 h 615"/>
              <a:gd name="T2" fmla="*/ 335 w 335"/>
              <a:gd name="T3" fmla="*/ 615 h 615"/>
              <a:gd name="T4" fmla="*/ 335 w 335"/>
              <a:gd name="T5" fmla="*/ 183 h 615"/>
              <a:gd name="T6" fmla="*/ 0 w 335"/>
              <a:gd name="T7" fmla="*/ 0 h 615"/>
              <a:gd name="T8" fmla="*/ 0 w 335"/>
              <a:gd name="T9" fmla="*/ 432 h 615"/>
            </a:gdLst>
            <a:ahLst/>
            <a:cxnLst>
              <a:cxn ang="0">
                <a:pos x="T0" y="T1"/>
              </a:cxn>
              <a:cxn ang="0">
                <a:pos x="T2" y="T3"/>
              </a:cxn>
              <a:cxn ang="0">
                <a:pos x="T4" y="T5"/>
              </a:cxn>
              <a:cxn ang="0">
                <a:pos x="T6" y="T7"/>
              </a:cxn>
              <a:cxn ang="0">
                <a:pos x="T8" y="T9"/>
              </a:cxn>
            </a:cxnLst>
            <a:rect l="0" t="0" r="r" b="b"/>
            <a:pathLst>
              <a:path w="335" h="615">
                <a:moveTo>
                  <a:pt x="0" y="432"/>
                </a:moveTo>
                <a:lnTo>
                  <a:pt x="335" y="615"/>
                </a:lnTo>
                <a:lnTo>
                  <a:pt x="335" y="183"/>
                </a:lnTo>
                <a:lnTo>
                  <a:pt x="0" y="0"/>
                </a:lnTo>
                <a:lnTo>
                  <a:pt x="0" y="432"/>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8" name="Freeform 7">
            <a:extLst>
              <a:ext uri="{FF2B5EF4-FFF2-40B4-BE49-F238E27FC236}">
                <a16:creationId xmlns:a16="http://schemas.microsoft.com/office/drawing/2014/main" id="{D6AE2091-A22F-41E2-A7B2-EA573798D703}"/>
              </a:ext>
            </a:extLst>
          </p:cNvPr>
          <p:cNvSpPr>
            <a:spLocks/>
          </p:cNvSpPr>
          <p:nvPr userDrawn="1"/>
        </p:nvSpPr>
        <p:spPr bwMode="auto">
          <a:xfrm>
            <a:off x="9247188" y="4403726"/>
            <a:ext cx="1063625" cy="585788"/>
          </a:xfrm>
          <a:custGeom>
            <a:avLst/>
            <a:gdLst>
              <a:gd name="T0" fmla="*/ 335 w 670"/>
              <a:gd name="T1" fmla="*/ 0 h 369"/>
              <a:gd name="T2" fmla="*/ 0 w 670"/>
              <a:gd name="T3" fmla="*/ 183 h 369"/>
              <a:gd name="T4" fmla="*/ 343 w 670"/>
              <a:gd name="T5" fmla="*/ 369 h 369"/>
              <a:gd name="T6" fmla="*/ 670 w 670"/>
              <a:gd name="T7" fmla="*/ 183 h 369"/>
              <a:gd name="T8" fmla="*/ 335 w 670"/>
              <a:gd name="T9" fmla="*/ 0 h 369"/>
            </a:gdLst>
            <a:ahLst/>
            <a:cxnLst>
              <a:cxn ang="0">
                <a:pos x="T0" y="T1"/>
              </a:cxn>
              <a:cxn ang="0">
                <a:pos x="T2" y="T3"/>
              </a:cxn>
              <a:cxn ang="0">
                <a:pos x="T4" y="T5"/>
              </a:cxn>
              <a:cxn ang="0">
                <a:pos x="T6" y="T7"/>
              </a:cxn>
              <a:cxn ang="0">
                <a:pos x="T8" y="T9"/>
              </a:cxn>
            </a:cxnLst>
            <a:rect l="0" t="0" r="r" b="b"/>
            <a:pathLst>
              <a:path w="670" h="369">
                <a:moveTo>
                  <a:pt x="335" y="0"/>
                </a:moveTo>
                <a:lnTo>
                  <a:pt x="0" y="183"/>
                </a:lnTo>
                <a:lnTo>
                  <a:pt x="343" y="369"/>
                </a:lnTo>
                <a:lnTo>
                  <a:pt x="670" y="183"/>
                </a:lnTo>
                <a:lnTo>
                  <a:pt x="335"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D21A318B-EB22-44CE-9860-FA25AF9D545C}"/>
              </a:ext>
            </a:extLst>
          </p:cNvPr>
          <p:cNvSpPr>
            <a:spLocks/>
          </p:cNvSpPr>
          <p:nvPr userDrawn="1"/>
        </p:nvSpPr>
        <p:spPr bwMode="auto">
          <a:xfrm>
            <a:off x="8710613" y="2746376"/>
            <a:ext cx="531812" cy="976313"/>
          </a:xfrm>
          <a:custGeom>
            <a:avLst/>
            <a:gdLst>
              <a:gd name="T0" fmla="*/ 335 w 335"/>
              <a:gd name="T1" fmla="*/ 432 h 615"/>
              <a:gd name="T2" fmla="*/ 0 w 335"/>
              <a:gd name="T3" fmla="*/ 615 h 615"/>
              <a:gd name="T4" fmla="*/ 0 w 335"/>
              <a:gd name="T5" fmla="*/ 184 h 615"/>
              <a:gd name="T6" fmla="*/ 335 w 335"/>
              <a:gd name="T7" fmla="*/ 0 h 615"/>
              <a:gd name="T8" fmla="*/ 335 w 335"/>
              <a:gd name="T9" fmla="*/ 432 h 615"/>
            </a:gdLst>
            <a:ahLst/>
            <a:cxnLst>
              <a:cxn ang="0">
                <a:pos x="T0" y="T1"/>
              </a:cxn>
              <a:cxn ang="0">
                <a:pos x="T2" y="T3"/>
              </a:cxn>
              <a:cxn ang="0">
                <a:pos x="T4" y="T5"/>
              </a:cxn>
              <a:cxn ang="0">
                <a:pos x="T6" y="T7"/>
              </a:cxn>
              <a:cxn ang="0">
                <a:pos x="T8" y="T9"/>
              </a:cxn>
            </a:cxnLst>
            <a:rect l="0" t="0" r="r" b="b"/>
            <a:pathLst>
              <a:path w="335" h="615">
                <a:moveTo>
                  <a:pt x="335" y="432"/>
                </a:moveTo>
                <a:lnTo>
                  <a:pt x="0" y="615"/>
                </a:lnTo>
                <a:lnTo>
                  <a:pt x="0" y="184"/>
                </a:lnTo>
                <a:lnTo>
                  <a:pt x="335" y="0"/>
                </a:lnTo>
                <a:lnTo>
                  <a:pt x="335" y="432"/>
                </a:lnTo>
                <a:close/>
              </a:path>
            </a:pathLst>
          </a:custGeom>
          <a:solidFill>
            <a:srgbClr val="00B5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6677C354-75B4-4B8D-A3FB-83D8D88ADAA8}"/>
              </a:ext>
            </a:extLst>
          </p:cNvPr>
          <p:cNvSpPr>
            <a:spLocks/>
          </p:cNvSpPr>
          <p:nvPr userDrawn="1"/>
        </p:nvSpPr>
        <p:spPr bwMode="auto">
          <a:xfrm>
            <a:off x="9242425" y="2746376"/>
            <a:ext cx="531812" cy="976313"/>
          </a:xfrm>
          <a:custGeom>
            <a:avLst/>
            <a:gdLst>
              <a:gd name="T0" fmla="*/ 0 w 335"/>
              <a:gd name="T1" fmla="*/ 432 h 615"/>
              <a:gd name="T2" fmla="*/ 335 w 335"/>
              <a:gd name="T3" fmla="*/ 615 h 615"/>
              <a:gd name="T4" fmla="*/ 335 w 335"/>
              <a:gd name="T5" fmla="*/ 184 h 615"/>
              <a:gd name="T6" fmla="*/ 0 w 335"/>
              <a:gd name="T7" fmla="*/ 0 h 615"/>
              <a:gd name="T8" fmla="*/ 0 w 335"/>
              <a:gd name="T9" fmla="*/ 432 h 615"/>
            </a:gdLst>
            <a:ahLst/>
            <a:cxnLst>
              <a:cxn ang="0">
                <a:pos x="T0" y="T1"/>
              </a:cxn>
              <a:cxn ang="0">
                <a:pos x="T2" y="T3"/>
              </a:cxn>
              <a:cxn ang="0">
                <a:pos x="T4" y="T5"/>
              </a:cxn>
              <a:cxn ang="0">
                <a:pos x="T6" y="T7"/>
              </a:cxn>
              <a:cxn ang="0">
                <a:pos x="T8" y="T9"/>
              </a:cxn>
            </a:cxnLst>
            <a:rect l="0" t="0" r="r" b="b"/>
            <a:pathLst>
              <a:path w="335" h="615">
                <a:moveTo>
                  <a:pt x="0" y="432"/>
                </a:moveTo>
                <a:lnTo>
                  <a:pt x="335" y="615"/>
                </a:lnTo>
                <a:lnTo>
                  <a:pt x="335" y="184"/>
                </a:lnTo>
                <a:lnTo>
                  <a:pt x="0" y="0"/>
                </a:lnTo>
                <a:lnTo>
                  <a:pt x="0" y="432"/>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9EDCD366-5A17-4E5F-B2B6-B1B76149C7CD}"/>
              </a:ext>
            </a:extLst>
          </p:cNvPr>
          <p:cNvSpPr>
            <a:spLocks/>
          </p:cNvSpPr>
          <p:nvPr userDrawn="1"/>
        </p:nvSpPr>
        <p:spPr bwMode="auto">
          <a:xfrm>
            <a:off x="8710613" y="3432176"/>
            <a:ext cx="1063625" cy="585788"/>
          </a:xfrm>
          <a:custGeom>
            <a:avLst/>
            <a:gdLst>
              <a:gd name="T0" fmla="*/ 335 w 670"/>
              <a:gd name="T1" fmla="*/ 0 h 369"/>
              <a:gd name="T2" fmla="*/ 0 w 670"/>
              <a:gd name="T3" fmla="*/ 183 h 369"/>
              <a:gd name="T4" fmla="*/ 343 w 670"/>
              <a:gd name="T5" fmla="*/ 369 h 369"/>
              <a:gd name="T6" fmla="*/ 670 w 670"/>
              <a:gd name="T7" fmla="*/ 183 h 369"/>
              <a:gd name="T8" fmla="*/ 335 w 670"/>
              <a:gd name="T9" fmla="*/ 0 h 369"/>
            </a:gdLst>
            <a:ahLst/>
            <a:cxnLst>
              <a:cxn ang="0">
                <a:pos x="T0" y="T1"/>
              </a:cxn>
              <a:cxn ang="0">
                <a:pos x="T2" y="T3"/>
              </a:cxn>
              <a:cxn ang="0">
                <a:pos x="T4" y="T5"/>
              </a:cxn>
              <a:cxn ang="0">
                <a:pos x="T6" y="T7"/>
              </a:cxn>
              <a:cxn ang="0">
                <a:pos x="T8" y="T9"/>
              </a:cxn>
            </a:cxnLst>
            <a:rect l="0" t="0" r="r" b="b"/>
            <a:pathLst>
              <a:path w="670" h="369">
                <a:moveTo>
                  <a:pt x="335" y="0"/>
                </a:moveTo>
                <a:lnTo>
                  <a:pt x="0" y="183"/>
                </a:lnTo>
                <a:lnTo>
                  <a:pt x="343" y="369"/>
                </a:lnTo>
                <a:lnTo>
                  <a:pt x="670" y="183"/>
                </a:lnTo>
                <a:lnTo>
                  <a:pt x="33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a:extLst>
              <a:ext uri="{FF2B5EF4-FFF2-40B4-BE49-F238E27FC236}">
                <a16:creationId xmlns:a16="http://schemas.microsoft.com/office/drawing/2014/main" id="{EC00DEC6-9991-49C0-AC62-98D39D8C2CB5}"/>
              </a:ext>
            </a:extLst>
          </p:cNvPr>
          <p:cNvSpPr>
            <a:spLocks/>
          </p:cNvSpPr>
          <p:nvPr userDrawn="1"/>
        </p:nvSpPr>
        <p:spPr bwMode="auto">
          <a:xfrm>
            <a:off x="9774238" y="2746376"/>
            <a:ext cx="530225" cy="976313"/>
          </a:xfrm>
          <a:custGeom>
            <a:avLst/>
            <a:gdLst>
              <a:gd name="T0" fmla="*/ 334 w 334"/>
              <a:gd name="T1" fmla="*/ 432 h 615"/>
              <a:gd name="T2" fmla="*/ 0 w 334"/>
              <a:gd name="T3" fmla="*/ 615 h 615"/>
              <a:gd name="T4" fmla="*/ 0 w 334"/>
              <a:gd name="T5" fmla="*/ 184 h 615"/>
              <a:gd name="T6" fmla="*/ 334 w 334"/>
              <a:gd name="T7" fmla="*/ 0 h 615"/>
              <a:gd name="T8" fmla="*/ 334 w 334"/>
              <a:gd name="T9" fmla="*/ 432 h 615"/>
            </a:gdLst>
            <a:ahLst/>
            <a:cxnLst>
              <a:cxn ang="0">
                <a:pos x="T0" y="T1"/>
              </a:cxn>
              <a:cxn ang="0">
                <a:pos x="T2" y="T3"/>
              </a:cxn>
              <a:cxn ang="0">
                <a:pos x="T4" y="T5"/>
              </a:cxn>
              <a:cxn ang="0">
                <a:pos x="T6" y="T7"/>
              </a:cxn>
              <a:cxn ang="0">
                <a:pos x="T8" y="T9"/>
              </a:cxn>
            </a:cxnLst>
            <a:rect l="0" t="0" r="r" b="b"/>
            <a:pathLst>
              <a:path w="334" h="615">
                <a:moveTo>
                  <a:pt x="334" y="432"/>
                </a:moveTo>
                <a:lnTo>
                  <a:pt x="0" y="615"/>
                </a:lnTo>
                <a:lnTo>
                  <a:pt x="0" y="184"/>
                </a:lnTo>
                <a:lnTo>
                  <a:pt x="334" y="0"/>
                </a:lnTo>
                <a:lnTo>
                  <a:pt x="334" y="432"/>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a:extLst>
              <a:ext uri="{FF2B5EF4-FFF2-40B4-BE49-F238E27FC236}">
                <a16:creationId xmlns:a16="http://schemas.microsoft.com/office/drawing/2014/main" id="{DD955F93-269E-4A90-9421-03921A2758FD}"/>
              </a:ext>
            </a:extLst>
          </p:cNvPr>
          <p:cNvSpPr>
            <a:spLocks/>
          </p:cNvSpPr>
          <p:nvPr userDrawn="1"/>
        </p:nvSpPr>
        <p:spPr bwMode="auto">
          <a:xfrm>
            <a:off x="9774238" y="3432176"/>
            <a:ext cx="1062037" cy="585788"/>
          </a:xfrm>
          <a:custGeom>
            <a:avLst/>
            <a:gdLst>
              <a:gd name="T0" fmla="*/ 334 w 669"/>
              <a:gd name="T1" fmla="*/ 0 h 369"/>
              <a:gd name="T2" fmla="*/ 0 w 669"/>
              <a:gd name="T3" fmla="*/ 183 h 369"/>
              <a:gd name="T4" fmla="*/ 342 w 669"/>
              <a:gd name="T5" fmla="*/ 369 h 369"/>
              <a:gd name="T6" fmla="*/ 669 w 669"/>
              <a:gd name="T7" fmla="*/ 183 h 369"/>
              <a:gd name="T8" fmla="*/ 334 w 669"/>
              <a:gd name="T9" fmla="*/ 0 h 369"/>
            </a:gdLst>
            <a:ahLst/>
            <a:cxnLst>
              <a:cxn ang="0">
                <a:pos x="T0" y="T1"/>
              </a:cxn>
              <a:cxn ang="0">
                <a:pos x="T2" y="T3"/>
              </a:cxn>
              <a:cxn ang="0">
                <a:pos x="T4" y="T5"/>
              </a:cxn>
              <a:cxn ang="0">
                <a:pos x="T6" y="T7"/>
              </a:cxn>
              <a:cxn ang="0">
                <a:pos x="T8" y="T9"/>
              </a:cxn>
            </a:cxnLst>
            <a:rect l="0" t="0" r="r" b="b"/>
            <a:pathLst>
              <a:path w="669" h="369">
                <a:moveTo>
                  <a:pt x="334" y="0"/>
                </a:moveTo>
                <a:lnTo>
                  <a:pt x="0" y="183"/>
                </a:lnTo>
                <a:lnTo>
                  <a:pt x="342" y="369"/>
                </a:lnTo>
                <a:lnTo>
                  <a:pt x="669" y="183"/>
                </a:lnTo>
                <a:lnTo>
                  <a:pt x="334" y="0"/>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4" name="Freeform 13">
            <a:extLst>
              <a:ext uri="{FF2B5EF4-FFF2-40B4-BE49-F238E27FC236}">
                <a16:creationId xmlns:a16="http://schemas.microsoft.com/office/drawing/2014/main" id="{8FECE066-8531-447C-BB25-9F5F4E759C5A}"/>
              </a:ext>
            </a:extLst>
          </p:cNvPr>
          <p:cNvSpPr>
            <a:spLocks/>
          </p:cNvSpPr>
          <p:nvPr userDrawn="1"/>
        </p:nvSpPr>
        <p:spPr bwMode="auto">
          <a:xfrm>
            <a:off x="11366500" y="2746376"/>
            <a:ext cx="531812" cy="976313"/>
          </a:xfrm>
          <a:custGeom>
            <a:avLst/>
            <a:gdLst>
              <a:gd name="T0" fmla="*/ 0 w 335"/>
              <a:gd name="T1" fmla="*/ 432 h 615"/>
              <a:gd name="T2" fmla="*/ 335 w 335"/>
              <a:gd name="T3" fmla="*/ 615 h 615"/>
              <a:gd name="T4" fmla="*/ 335 w 335"/>
              <a:gd name="T5" fmla="*/ 184 h 615"/>
              <a:gd name="T6" fmla="*/ 0 w 335"/>
              <a:gd name="T7" fmla="*/ 0 h 615"/>
              <a:gd name="T8" fmla="*/ 0 w 335"/>
              <a:gd name="T9" fmla="*/ 432 h 615"/>
            </a:gdLst>
            <a:ahLst/>
            <a:cxnLst>
              <a:cxn ang="0">
                <a:pos x="T0" y="T1"/>
              </a:cxn>
              <a:cxn ang="0">
                <a:pos x="T2" y="T3"/>
              </a:cxn>
              <a:cxn ang="0">
                <a:pos x="T4" y="T5"/>
              </a:cxn>
              <a:cxn ang="0">
                <a:pos x="T6" y="T7"/>
              </a:cxn>
              <a:cxn ang="0">
                <a:pos x="T8" y="T9"/>
              </a:cxn>
            </a:cxnLst>
            <a:rect l="0" t="0" r="r" b="b"/>
            <a:pathLst>
              <a:path w="335" h="615">
                <a:moveTo>
                  <a:pt x="0" y="432"/>
                </a:moveTo>
                <a:lnTo>
                  <a:pt x="335" y="615"/>
                </a:lnTo>
                <a:lnTo>
                  <a:pt x="335" y="184"/>
                </a:lnTo>
                <a:lnTo>
                  <a:pt x="0" y="0"/>
                </a:lnTo>
                <a:lnTo>
                  <a:pt x="0" y="432"/>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5" name="Freeform 14">
            <a:extLst>
              <a:ext uri="{FF2B5EF4-FFF2-40B4-BE49-F238E27FC236}">
                <a16:creationId xmlns:a16="http://schemas.microsoft.com/office/drawing/2014/main" id="{08669DD9-B208-4F31-B930-29DBE1CFCA0A}"/>
              </a:ext>
            </a:extLst>
          </p:cNvPr>
          <p:cNvSpPr>
            <a:spLocks/>
          </p:cNvSpPr>
          <p:nvPr userDrawn="1"/>
        </p:nvSpPr>
        <p:spPr bwMode="auto">
          <a:xfrm>
            <a:off x="10834688" y="3432176"/>
            <a:ext cx="1063625" cy="585788"/>
          </a:xfrm>
          <a:custGeom>
            <a:avLst/>
            <a:gdLst>
              <a:gd name="T0" fmla="*/ 335 w 670"/>
              <a:gd name="T1" fmla="*/ 0 h 369"/>
              <a:gd name="T2" fmla="*/ 0 w 670"/>
              <a:gd name="T3" fmla="*/ 183 h 369"/>
              <a:gd name="T4" fmla="*/ 343 w 670"/>
              <a:gd name="T5" fmla="*/ 369 h 369"/>
              <a:gd name="T6" fmla="*/ 670 w 670"/>
              <a:gd name="T7" fmla="*/ 183 h 369"/>
              <a:gd name="T8" fmla="*/ 335 w 670"/>
              <a:gd name="T9" fmla="*/ 0 h 369"/>
            </a:gdLst>
            <a:ahLst/>
            <a:cxnLst>
              <a:cxn ang="0">
                <a:pos x="T0" y="T1"/>
              </a:cxn>
              <a:cxn ang="0">
                <a:pos x="T2" y="T3"/>
              </a:cxn>
              <a:cxn ang="0">
                <a:pos x="T4" y="T5"/>
              </a:cxn>
              <a:cxn ang="0">
                <a:pos x="T6" y="T7"/>
              </a:cxn>
              <a:cxn ang="0">
                <a:pos x="T8" y="T9"/>
              </a:cxn>
            </a:cxnLst>
            <a:rect l="0" t="0" r="r" b="b"/>
            <a:pathLst>
              <a:path w="670" h="369">
                <a:moveTo>
                  <a:pt x="335" y="0"/>
                </a:moveTo>
                <a:lnTo>
                  <a:pt x="0" y="183"/>
                </a:lnTo>
                <a:lnTo>
                  <a:pt x="343" y="369"/>
                </a:lnTo>
                <a:lnTo>
                  <a:pt x="670" y="183"/>
                </a:lnTo>
                <a:lnTo>
                  <a:pt x="335" y="0"/>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6" name="Freeform 15">
            <a:extLst>
              <a:ext uri="{FF2B5EF4-FFF2-40B4-BE49-F238E27FC236}">
                <a16:creationId xmlns:a16="http://schemas.microsoft.com/office/drawing/2014/main" id="{0CCB16EE-1758-4CED-B140-A7D51018E9A2}"/>
              </a:ext>
            </a:extLst>
          </p:cNvPr>
          <p:cNvSpPr>
            <a:spLocks/>
          </p:cNvSpPr>
          <p:nvPr userDrawn="1"/>
        </p:nvSpPr>
        <p:spPr bwMode="auto">
          <a:xfrm>
            <a:off x="10301288" y="1768476"/>
            <a:ext cx="530225" cy="977900"/>
          </a:xfrm>
          <a:custGeom>
            <a:avLst/>
            <a:gdLst>
              <a:gd name="T0" fmla="*/ 334 w 334"/>
              <a:gd name="T1" fmla="*/ 432 h 616"/>
              <a:gd name="T2" fmla="*/ 0 w 334"/>
              <a:gd name="T3" fmla="*/ 616 h 616"/>
              <a:gd name="T4" fmla="*/ 0 w 334"/>
              <a:gd name="T5" fmla="*/ 183 h 616"/>
              <a:gd name="T6" fmla="*/ 334 w 334"/>
              <a:gd name="T7" fmla="*/ 0 h 616"/>
              <a:gd name="T8" fmla="*/ 334 w 334"/>
              <a:gd name="T9" fmla="*/ 432 h 616"/>
            </a:gdLst>
            <a:ahLst/>
            <a:cxnLst>
              <a:cxn ang="0">
                <a:pos x="T0" y="T1"/>
              </a:cxn>
              <a:cxn ang="0">
                <a:pos x="T2" y="T3"/>
              </a:cxn>
              <a:cxn ang="0">
                <a:pos x="T4" y="T5"/>
              </a:cxn>
              <a:cxn ang="0">
                <a:pos x="T6" y="T7"/>
              </a:cxn>
              <a:cxn ang="0">
                <a:pos x="T8" y="T9"/>
              </a:cxn>
            </a:cxnLst>
            <a:rect l="0" t="0" r="r" b="b"/>
            <a:pathLst>
              <a:path w="334" h="616">
                <a:moveTo>
                  <a:pt x="334" y="432"/>
                </a:moveTo>
                <a:lnTo>
                  <a:pt x="0" y="616"/>
                </a:lnTo>
                <a:lnTo>
                  <a:pt x="0" y="183"/>
                </a:lnTo>
                <a:lnTo>
                  <a:pt x="334" y="0"/>
                </a:lnTo>
                <a:lnTo>
                  <a:pt x="334" y="432"/>
                </a:lnTo>
                <a:close/>
              </a:path>
            </a:pathLst>
          </a:custGeom>
          <a:solidFill>
            <a:srgbClr val="007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a:extLst>
              <a:ext uri="{FF2B5EF4-FFF2-40B4-BE49-F238E27FC236}">
                <a16:creationId xmlns:a16="http://schemas.microsoft.com/office/drawing/2014/main" id="{F39B0346-55F9-43EF-8522-050D7947331E}"/>
              </a:ext>
            </a:extLst>
          </p:cNvPr>
          <p:cNvSpPr>
            <a:spLocks/>
          </p:cNvSpPr>
          <p:nvPr userDrawn="1"/>
        </p:nvSpPr>
        <p:spPr bwMode="auto">
          <a:xfrm>
            <a:off x="10831513" y="1768476"/>
            <a:ext cx="531812" cy="977900"/>
          </a:xfrm>
          <a:custGeom>
            <a:avLst/>
            <a:gdLst>
              <a:gd name="T0" fmla="*/ 0 w 335"/>
              <a:gd name="T1" fmla="*/ 432 h 616"/>
              <a:gd name="T2" fmla="*/ 335 w 335"/>
              <a:gd name="T3" fmla="*/ 616 h 616"/>
              <a:gd name="T4" fmla="*/ 335 w 335"/>
              <a:gd name="T5" fmla="*/ 183 h 616"/>
              <a:gd name="T6" fmla="*/ 0 w 335"/>
              <a:gd name="T7" fmla="*/ 0 h 616"/>
              <a:gd name="T8" fmla="*/ 0 w 335"/>
              <a:gd name="T9" fmla="*/ 432 h 616"/>
            </a:gdLst>
            <a:ahLst/>
            <a:cxnLst>
              <a:cxn ang="0">
                <a:pos x="T0" y="T1"/>
              </a:cxn>
              <a:cxn ang="0">
                <a:pos x="T2" y="T3"/>
              </a:cxn>
              <a:cxn ang="0">
                <a:pos x="T4" y="T5"/>
              </a:cxn>
              <a:cxn ang="0">
                <a:pos x="T6" y="T7"/>
              </a:cxn>
              <a:cxn ang="0">
                <a:pos x="T8" y="T9"/>
              </a:cxn>
            </a:cxnLst>
            <a:rect l="0" t="0" r="r" b="b"/>
            <a:pathLst>
              <a:path w="335" h="616">
                <a:moveTo>
                  <a:pt x="0" y="432"/>
                </a:moveTo>
                <a:lnTo>
                  <a:pt x="335" y="616"/>
                </a:lnTo>
                <a:lnTo>
                  <a:pt x="335" y="183"/>
                </a:lnTo>
                <a:lnTo>
                  <a:pt x="0" y="0"/>
                </a:lnTo>
                <a:lnTo>
                  <a:pt x="0" y="432"/>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a:extLst>
              <a:ext uri="{FF2B5EF4-FFF2-40B4-BE49-F238E27FC236}">
                <a16:creationId xmlns:a16="http://schemas.microsoft.com/office/drawing/2014/main" id="{98D8B928-2DCB-4B88-A19B-669D1B42B8AB}"/>
              </a:ext>
            </a:extLst>
          </p:cNvPr>
          <p:cNvSpPr>
            <a:spLocks/>
          </p:cNvSpPr>
          <p:nvPr userDrawn="1"/>
        </p:nvSpPr>
        <p:spPr bwMode="auto">
          <a:xfrm>
            <a:off x="10301288" y="2454276"/>
            <a:ext cx="1062037" cy="585788"/>
          </a:xfrm>
          <a:custGeom>
            <a:avLst/>
            <a:gdLst>
              <a:gd name="T0" fmla="*/ 334 w 669"/>
              <a:gd name="T1" fmla="*/ 0 h 369"/>
              <a:gd name="T2" fmla="*/ 0 w 669"/>
              <a:gd name="T3" fmla="*/ 184 h 369"/>
              <a:gd name="T4" fmla="*/ 342 w 669"/>
              <a:gd name="T5" fmla="*/ 369 h 369"/>
              <a:gd name="T6" fmla="*/ 669 w 669"/>
              <a:gd name="T7" fmla="*/ 184 h 369"/>
              <a:gd name="T8" fmla="*/ 334 w 669"/>
              <a:gd name="T9" fmla="*/ 0 h 369"/>
            </a:gdLst>
            <a:ahLst/>
            <a:cxnLst>
              <a:cxn ang="0">
                <a:pos x="T0" y="T1"/>
              </a:cxn>
              <a:cxn ang="0">
                <a:pos x="T2" y="T3"/>
              </a:cxn>
              <a:cxn ang="0">
                <a:pos x="T4" y="T5"/>
              </a:cxn>
              <a:cxn ang="0">
                <a:pos x="T6" y="T7"/>
              </a:cxn>
              <a:cxn ang="0">
                <a:pos x="T8" y="T9"/>
              </a:cxn>
            </a:cxnLst>
            <a:rect l="0" t="0" r="r" b="b"/>
            <a:pathLst>
              <a:path w="669" h="369">
                <a:moveTo>
                  <a:pt x="334" y="0"/>
                </a:moveTo>
                <a:lnTo>
                  <a:pt x="0" y="184"/>
                </a:lnTo>
                <a:lnTo>
                  <a:pt x="342" y="369"/>
                </a:lnTo>
                <a:lnTo>
                  <a:pt x="669" y="184"/>
                </a:lnTo>
                <a:lnTo>
                  <a:pt x="334" y="0"/>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9" name="Freeform 18">
            <a:extLst>
              <a:ext uri="{FF2B5EF4-FFF2-40B4-BE49-F238E27FC236}">
                <a16:creationId xmlns:a16="http://schemas.microsoft.com/office/drawing/2014/main" id="{1A70C251-32F6-4B73-984D-F8C61AC8C052}"/>
              </a:ext>
            </a:extLst>
          </p:cNvPr>
          <p:cNvSpPr>
            <a:spLocks/>
          </p:cNvSpPr>
          <p:nvPr userDrawn="1"/>
        </p:nvSpPr>
        <p:spPr bwMode="auto">
          <a:xfrm>
            <a:off x="11364913" y="1768476"/>
            <a:ext cx="531812" cy="977900"/>
          </a:xfrm>
          <a:custGeom>
            <a:avLst/>
            <a:gdLst>
              <a:gd name="T0" fmla="*/ 335 w 335"/>
              <a:gd name="T1" fmla="*/ 432 h 616"/>
              <a:gd name="T2" fmla="*/ 0 w 335"/>
              <a:gd name="T3" fmla="*/ 616 h 616"/>
              <a:gd name="T4" fmla="*/ 0 w 335"/>
              <a:gd name="T5" fmla="*/ 183 h 616"/>
              <a:gd name="T6" fmla="*/ 335 w 335"/>
              <a:gd name="T7" fmla="*/ 0 h 616"/>
              <a:gd name="T8" fmla="*/ 335 w 335"/>
              <a:gd name="T9" fmla="*/ 432 h 616"/>
            </a:gdLst>
            <a:ahLst/>
            <a:cxnLst>
              <a:cxn ang="0">
                <a:pos x="T0" y="T1"/>
              </a:cxn>
              <a:cxn ang="0">
                <a:pos x="T2" y="T3"/>
              </a:cxn>
              <a:cxn ang="0">
                <a:pos x="T4" y="T5"/>
              </a:cxn>
              <a:cxn ang="0">
                <a:pos x="T6" y="T7"/>
              </a:cxn>
              <a:cxn ang="0">
                <a:pos x="T8" y="T9"/>
              </a:cxn>
            </a:cxnLst>
            <a:rect l="0" t="0" r="r" b="b"/>
            <a:pathLst>
              <a:path w="335" h="616">
                <a:moveTo>
                  <a:pt x="335" y="432"/>
                </a:moveTo>
                <a:lnTo>
                  <a:pt x="0" y="616"/>
                </a:lnTo>
                <a:lnTo>
                  <a:pt x="0" y="183"/>
                </a:lnTo>
                <a:lnTo>
                  <a:pt x="335" y="0"/>
                </a:lnTo>
                <a:lnTo>
                  <a:pt x="335" y="432"/>
                </a:lnTo>
                <a:close/>
              </a:path>
            </a:pathLst>
          </a:custGeom>
          <a:solidFill>
            <a:srgbClr val="007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Shape 55">
            <a:extLst>
              <a:ext uri="{FF2B5EF4-FFF2-40B4-BE49-F238E27FC236}">
                <a16:creationId xmlns:a16="http://schemas.microsoft.com/office/drawing/2014/main" id="{3D9CB0A4-F5B0-4CC8-86C0-D0C623D63A6C}"/>
              </a:ext>
            </a:extLst>
          </p:cNvPr>
          <p:cNvSpPr>
            <a:spLocks/>
          </p:cNvSpPr>
          <p:nvPr userDrawn="1"/>
        </p:nvSpPr>
        <p:spPr bwMode="auto">
          <a:xfrm>
            <a:off x="11896726" y="1768477"/>
            <a:ext cx="295275" cy="847981"/>
          </a:xfrm>
          <a:custGeom>
            <a:avLst/>
            <a:gdLst>
              <a:gd name="connsiteX0" fmla="*/ 0 w 295275"/>
              <a:gd name="connsiteY0" fmla="*/ 0 h 847981"/>
              <a:gd name="connsiteX1" fmla="*/ 295275 w 295275"/>
              <a:gd name="connsiteY1" fmla="*/ 161300 h 847981"/>
              <a:gd name="connsiteX2" fmla="*/ 295275 w 295275"/>
              <a:gd name="connsiteY2" fmla="*/ 847981 h 847981"/>
              <a:gd name="connsiteX3" fmla="*/ 0 w 295275"/>
              <a:gd name="connsiteY3" fmla="*/ 685800 h 847981"/>
            </a:gdLst>
            <a:ahLst/>
            <a:cxnLst>
              <a:cxn ang="0">
                <a:pos x="connsiteX0" y="connsiteY0"/>
              </a:cxn>
              <a:cxn ang="0">
                <a:pos x="connsiteX1" y="connsiteY1"/>
              </a:cxn>
              <a:cxn ang="0">
                <a:pos x="connsiteX2" y="connsiteY2"/>
              </a:cxn>
              <a:cxn ang="0">
                <a:pos x="connsiteX3" y="connsiteY3"/>
              </a:cxn>
            </a:cxnLst>
            <a:rect l="l" t="t" r="r" b="b"/>
            <a:pathLst>
              <a:path w="295275" h="847981">
                <a:moveTo>
                  <a:pt x="0" y="0"/>
                </a:moveTo>
                <a:lnTo>
                  <a:pt x="295275" y="161300"/>
                </a:lnTo>
                <a:lnTo>
                  <a:pt x="295275" y="847981"/>
                </a:lnTo>
                <a:lnTo>
                  <a:pt x="0" y="685800"/>
                </a:lnTo>
                <a:close/>
              </a:path>
            </a:pathLst>
          </a:custGeom>
          <a:solidFill>
            <a:srgbClr val="00B5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1" name="Freeform: Shape 60">
            <a:extLst>
              <a:ext uri="{FF2B5EF4-FFF2-40B4-BE49-F238E27FC236}">
                <a16:creationId xmlns:a16="http://schemas.microsoft.com/office/drawing/2014/main" id="{420E963F-E05E-4A2F-AC93-D760E57AB6C6}"/>
              </a:ext>
            </a:extLst>
          </p:cNvPr>
          <p:cNvSpPr>
            <a:spLocks/>
          </p:cNvSpPr>
          <p:nvPr userDrawn="1"/>
        </p:nvSpPr>
        <p:spPr bwMode="auto">
          <a:xfrm>
            <a:off x="11364913" y="2454276"/>
            <a:ext cx="827087" cy="585788"/>
          </a:xfrm>
          <a:custGeom>
            <a:avLst/>
            <a:gdLst>
              <a:gd name="connsiteX0" fmla="*/ 531813 w 827087"/>
              <a:gd name="connsiteY0" fmla="*/ 0 h 585788"/>
              <a:gd name="connsiteX1" fmla="*/ 827087 w 827087"/>
              <a:gd name="connsiteY1" fmla="*/ 162181 h 585788"/>
              <a:gd name="connsiteX2" fmla="*/ 827087 w 827087"/>
              <a:gd name="connsiteY2" fmla="*/ 425514 h 585788"/>
              <a:gd name="connsiteX3" fmla="*/ 542925 w 827087"/>
              <a:gd name="connsiteY3" fmla="*/ 585788 h 585788"/>
              <a:gd name="connsiteX4" fmla="*/ 0 w 827087"/>
              <a:gd name="connsiteY4" fmla="*/ 292100 h 585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087" h="585788">
                <a:moveTo>
                  <a:pt x="531813" y="0"/>
                </a:moveTo>
                <a:lnTo>
                  <a:pt x="827087" y="162181"/>
                </a:lnTo>
                <a:lnTo>
                  <a:pt x="827087" y="425514"/>
                </a:lnTo>
                <a:lnTo>
                  <a:pt x="542925" y="585788"/>
                </a:lnTo>
                <a:lnTo>
                  <a:pt x="0" y="29210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noAutofit/>
          </a:bodyPr>
          <a:lstStyle/>
          <a:p>
            <a:endParaRPr lang="en-US"/>
          </a:p>
        </p:txBody>
      </p:sp>
      <p:sp>
        <p:nvSpPr>
          <p:cNvPr id="22" name="Freeform 21">
            <a:extLst>
              <a:ext uri="{FF2B5EF4-FFF2-40B4-BE49-F238E27FC236}">
                <a16:creationId xmlns:a16="http://schemas.microsoft.com/office/drawing/2014/main" id="{4814C730-27CA-46D5-ADF3-1E84015A4D46}"/>
              </a:ext>
            </a:extLst>
          </p:cNvPr>
          <p:cNvSpPr>
            <a:spLocks/>
          </p:cNvSpPr>
          <p:nvPr userDrawn="1"/>
        </p:nvSpPr>
        <p:spPr bwMode="auto">
          <a:xfrm>
            <a:off x="10317163" y="4397376"/>
            <a:ext cx="530225" cy="977900"/>
          </a:xfrm>
          <a:custGeom>
            <a:avLst/>
            <a:gdLst>
              <a:gd name="T0" fmla="*/ 334 w 334"/>
              <a:gd name="T1" fmla="*/ 432 h 616"/>
              <a:gd name="T2" fmla="*/ 0 w 334"/>
              <a:gd name="T3" fmla="*/ 616 h 616"/>
              <a:gd name="T4" fmla="*/ 0 w 334"/>
              <a:gd name="T5" fmla="*/ 184 h 616"/>
              <a:gd name="T6" fmla="*/ 334 w 334"/>
              <a:gd name="T7" fmla="*/ 0 h 616"/>
              <a:gd name="T8" fmla="*/ 334 w 334"/>
              <a:gd name="T9" fmla="*/ 432 h 616"/>
            </a:gdLst>
            <a:ahLst/>
            <a:cxnLst>
              <a:cxn ang="0">
                <a:pos x="T0" y="T1"/>
              </a:cxn>
              <a:cxn ang="0">
                <a:pos x="T2" y="T3"/>
              </a:cxn>
              <a:cxn ang="0">
                <a:pos x="T4" y="T5"/>
              </a:cxn>
              <a:cxn ang="0">
                <a:pos x="T6" y="T7"/>
              </a:cxn>
              <a:cxn ang="0">
                <a:pos x="T8" y="T9"/>
              </a:cxn>
            </a:cxnLst>
            <a:rect l="0" t="0" r="r" b="b"/>
            <a:pathLst>
              <a:path w="334" h="616">
                <a:moveTo>
                  <a:pt x="334" y="432"/>
                </a:moveTo>
                <a:lnTo>
                  <a:pt x="0" y="616"/>
                </a:lnTo>
                <a:lnTo>
                  <a:pt x="0" y="184"/>
                </a:lnTo>
                <a:lnTo>
                  <a:pt x="334" y="0"/>
                </a:lnTo>
                <a:lnTo>
                  <a:pt x="334" y="432"/>
                </a:lnTo>
                <a:close/>
              </a:path>
            </a:pathLst>
          </a:custGeom>
          <a:solidFill>
            <a:srgbClr val="007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2">
            <a:extLst>
              <a:ext uri="{FF2B5EF4-FFF2-40B4-BE49-F238E27FC236}">
                <a16:creationId xmlns:a16="http://schemas.microsoft.com/office/drawing/2014/main" id="{547D04F2-3C0E-4F35-964D-27E884533426}"/>
              </a:ext>
            </a:extLst>
          </p:cNvPr>
          <p:cNvSpPr>
            <a:spLocks/>
          </p:cNvSpPr>
          <p:nvPr userDrawn="1"/>
        </p:nvSpPr>
        <p:spPr bwMode="auto">
          <a:xfrm>
            <a:off x="10847388" y="4397376"/>
            <a:ext cx="531812" cy="977900"/>
          </a:xfrm>
          <a:custGeom>
            <a:avLst/>
            <a:gdLst>
              <a:gd name="T0" fmla="*/ 0 w 335"/>
              <a:gd name="T1" fmla="*/ 432 h 616"/>
              <a:gd name="T2" fmla="*/ 335 w 335"/>
              <a:gd name="T3" fmla="*/ 616 h 616"/>
              <a:gd name="T4" fmla="*/ 335 w 335"/>
              <a:gd name="T5" fmla="*/ 184 h 616"/>
              <a:gd name="T6" fmla="*/ 0 w 335"/>
              <a:gd name="T7" fmla="*/ 0 h 616"/>
              <a:gd name="T8" fmla="*/ 0 w 335"/>
              <a:gd name="T9" fmla="*/ 432 h 616"/>
            </a:gdLst>
            <a:ahLst/>
            <a:cxnLst>
              <a:cxn ang="0">
                <a:pos x="T0" y="T1"/>
              </a:cxn>
              <a:cxn ang="0">
                <a:pos x="T2" y="T3"/>
              </a:cxn>
              <a:cxn ang="0">
                <a:pos x="T4" y="T5"/>
              </a:cxn>
              <a:cxn ang="0">
                <a:pos x="T6" y="T7"/>
              </a:cxn>
              <a:cxn ang="0">
                <a:pos x="T8" y="T9"/>
              </a:cxn>
            </a:cxnLst>
            <a:rect l="0" t="0" r="r" b="b"/>
            <a:pathLst>
              <a:path w="335" h="616">
                <a:moveTo>
                  <a:pt x="0" y="432"/>
                </a:moveTo>
                <a:lnTo>
                  <a:pt x="335" y="616"/>
                </a:lnTo>
                <a:lnTo>
                  <a:pt x="335" y="184"/>
                </a:lnTo>
                <a:lnTo>
                  <a:pt x="0" y="0"/>
                </a:lnTo>
                <a:lnTo>
                  <a:pt x="0" y="432"/>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3">
            <a:extLst>
              <a:ext uri="{FF2B5EF4-FFF2-40B4-BE49-F238E27FC236}">
                <a16:creationId xmlns:a16="http://schemas.microsoft.com/office/drawing/2014/main" id="{35E82DE2-A614-42E1-9A59-46CB955F2302}"/>
              </a:ext>
            </a:extLst>
          </p:cNvPr>
          <p:cNvSpPr>
            <a:spLocks/>
          </p:cNvSpPr>
          <p:nvPr userDrawn="1"/>
        </p:nvSpPr>
        <p:spPr bwMode="auto">
          <a:xfrm>
            <a:off x="10317163" y="5083176"/>
            <a:ext cx="1062037" cy="587375"/>
          </a:xfrm>
          <a:custGeom>
            <a:avLst/>
            <a:gdLst>
              <a:gd name="T0" fmla="*/ 334 w 669"/>
              <a:gd name="T1" fmla="*/ 0 h 370"/>
              <a:gd name="T2" fmla="*/ 0 w 669"/>
              <a:gd name="T3" fmla="*/ 184 h 370"/>
              <a:gd name="T4" fmla="*/ 342 w 669"/>
              <a:gd name="T5" fmla="*/ 370 h 370"/>
              <a:gd name="T6" fmla="*/ 669 w 669"/>
              <a:gd name="T7" fmla="*/ 184 h 370"/>
              <a:gd name="T8" fmla="*/ 334 w 669"/>
              <a:gd name="T9" fmla="*/ 0 h 370"/>
            </a:gdLst>
            <a:ahLst/>
            <a:cxnLst>
              <a:cxn ang="0">
                <a:pos x="T0" y="T1"/>
              </a:cxn>
              <a:cxn ang="0">
                <a:pos x="T2" y="T3"/>
              </a:cxn>
              <a:cxn ang="0">
                <a:pos x="T4" y="T5"/>
              </a:cxn>
              <a:cxn ang="0">
                <a:pos x="T6" y="T7"/>
              </a:cxn>
              <a:cxn ang="0">
                <a:pos x="T8" y="T9"/>
              </a:cxn>
            </a:cxnLst>
            <a:rect l="0" t="0" r="r" b="b"/>
            <a:pathLst>
              <a:path w="669" h="370">
                <a:moveTo>
                  <a:pt x="334" y="0"/>
                </a:moveTo>
                <a:lnTo>
                  <a:pt x="0" y="184"/>
                </a:lnTo>
                <a:lnTo>
                  <a:pt x="342" y="370"/>
                </a:lnTo>
                <a:lnTo>
                  <a:pt x="669" y="184"/>
                </a:lnTo>
                <a:lnTo>
                  <a:pt x="334" y="0"/>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25" name="Freeform 24">
            <a:extLst>
              <a:ext uri="{FF2B5EF4-FFF2-40B4-BE49-F238E27FC236}">
                <a16:creationId xmlns:a16="http://schemas.microsoft.com/office/drawing/2014/main" id="{DCC243D5-BC57-4A73-B3B7-A4992ED0B8EA}"/>
              </a:ext>
            </a:extLst>
          </p:cNvPr>
          <p:cNvSpPr>
            <a:spLocks/>
          </p:cNvSpPr>
          <p:nvPr userDrawn="1"/>
        </p:nvSpPr>
        <p:spPr bwMode="auto">
          <a:xfrm>
            <a:off x="8720138" y="4694238"/>
            <a:ext cx="531812" cy="976313"/>
          </a:xfrm>
          <a:custGeom>
            <a:avLst/>
            <a:gdLst>
              <a:gd name="T0" fmla="*/ 335 w 335"/>
              <a:gd name="T1" fmla="*/ 432 h 615"/>
              <a:gd name="T2" fmla="*/ 0 w 335"/>
              <a:gd name="T3" fmla="*/ 615 h 615"/>
              <a:gd name="T4" fmla="*/ 0 w 335"/>
              <a:gd name="T5" fmla="*/ 183 h 615"/>
              <a:gd name="T6" fmla="*/ 335 w 335"/>
              <a:gd name="T7" fmla="*/ 0 h 615"/>
              <a:gd name="T8" fmla="*/ 335 w 335"/>
              <a:gd name="T9" fmla="*/ 432 h 615"/>
            </a:gdLst>
            <a:ahLst/>
            <a:cxnLst>
              <a:cxn ang="0">
                <a:pos x="T0" y="T1"/>
              </a:cxn>
              <a:cxn ang="0">
                <a:pos x="T2" y="T3"/>
              </a:cxn>
              <a:cxn ang="0">
                <a:pos x="T4" y="T5"/>
              </a:cxn>
              <a:cxn ang="0">
                <a:pos x="T6" y="T7"/>
              </a:cxn>
              <a:cxn ang="0">
                <a:pos x="T8" y="T9"/>
              </a:cxn>
            </a:cxnLst>
            <a:rect l="0" t="0" r="r" b="b"/>
            <a:pathLst>
              <a:path w="335" h="615">
                <a:moveTo>
                  <a:pt x="335" y="432"/>
                </a:moveTo>
                <a:lnTo>
                  <a:pt x="0" y="615"/>
                </a:lnTo>
                <a:lnTo>
                  <a:pt x="0" y="183"/>
                </a:lnTo>
                <a:lnTo>
                  <a:pt x="335" y="0"/>
                </a:lnTo>
                <a:lnTo>
                  <a:pt x="335" y="432"/>
                </a:lnTo>
                <a:close/>
              </a:path>
            </a:pathLst>
          </a:custGeom>
          <a:solidFill>
            <a:srgbClr val="007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a:extLst>
              <a:ext uri="{FF2B5EF4-FFF2-40B4-BE49-F238E27FC236}">
                <a16:creationId xmlns:a16="http://schemas.microsoft.com/office/drawing/2014/main" id="{6768A8D6-0E87-4CF6-A953-3B7E2E57A35C}"/>
              </a:ext>
            </a:extLst>
          </p:cNvPr>
          <p:cNvSpPr>
            <a:spLocks/>
          </p:cNvSpPr>
          <p:nvPr userDrawn="1"/>
        </p:nvSpPr>
        <p:spPr bwMode="auto">
          <a:xfrm>
            <a:off x="9251950" y="4694238"/>
            <a:ext cx="531812" cy="976313"/>
          </a:xfrm>
          <a:custGeom>
            <a:avLst/>
            <a:gdLst>
              <a:gd name="T0" fmla="*/ 0 w 335"/>
              <a:gd name="T1" fmla="*/ 432 h 615"/>
              <a:gd name="T2" fmla="*/ 335 w 335"/>
              <a:gd name="T3" fmla="*/ 615 h 615"/>
              <a:gd name="T4" fmla="*/ 335 w 335"/>
              <a:gd name="T5" fmla="*/ 183 h 615"/>
              <a:gd name="T6" fmla="*/ 0 w 335"/>
              <a:gd name="T7" fmla="*/ 0 h 615"/>
              <a:gd name="T8" fmla="*/ 0 w 335"/>
              <a:gd name="T9" fmla="*/ 432 h 615"/>
            </a:gdLst>
            <a:ahLst/>
            <a:cxnLst>
              <a:cxn ang="0">
                <a:pos x="T0" y="T1"/>
              </a:cxn>
              <a:cxn ang="0">
                <a:pos x="T2" y="T3"/>
              </a:cxn>
              <a:cxn ang="0">
                <a:pos x="T4" y="T5"/>
              </a:cxn>
              <a:cxn ang="0">
                <a:pos x="T6" y="T7"/>
              </a:cxn>
              <a:cxn ang="0">
                <a:pos x="T8" y="T9"/>
              </a:cxn>
            </a:cxnLst>
            <a:rect l="0" t="0" r="r" b="b"/>
            <a:pathLst>
              <a:path w="335" h="615">
                <a:moveTo>
                  <a:pt x="0" y="432"/>
                </a:moveTo>
                <a:lnTo>
                  <a:pt x="335" y="615"/>
                </a:lnTo>
                <a:lnTo>
                  <a:pt x="335" y="183"/>
                </a:lnTo>
                <a:lnTo>
                  <a:pt x="0" y="0"/>
                </a:lnTo>
                <a:lnTo>
                  <a:pt x="0" y="432"/>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a:extLst>
              <a:ext uri="{FF2B5EF4-FFF2-40B4-BE49-F238E27FC236}">
                <a16:creationId xmlns:a16="http://schemas.microsoft.com/office/drawing/2014/main" id="{228AA97F-817A-4625-AA98-51EBE76B3B07}"/>
              </a:ext>
            </a:extLst>
          </p:cNvPr>
          <p:cNvSpPr>
            <a:spLocks/>
          </p:cNvSpPr>
          <p:nvPr userDrawn="1"/>
        </p:nvSpPr>
        <p:spPr bwMode="auto">
          <a:xfrm>
            <a:off x="8720138" y="5380038"/>
            <a:ext cx="1063625" cy="585788"/>
          </a:xfrm>
          <a:custGeom>
            <a:avLst/>
            <a:gdLst>
              <a:gd name="T0" fmla="*/ 335 w 670"/>
              <a:gd name="T1" fmla="*/ 0 h 369"/>
              <a:gd name="T2" fmla="*/ 0 w 670"/>
              <a:gd name="T3" fmla="*/ 183 h 369"/>
              <a:gd name="T4" fmla="*/ 343 w 670"/>
              <a:gd name="T5" fmla="*/ 369 h 369"/>
              <a:gd name="T6" fmla="*/ 670 w 670"/>
              <a:gd name="T7" fmla="*/ 183 h 369"/>
              <a:gd name="T8" fmla="*/ 335 w 670"/>
              <a:gd name="T9" fmla="*/ 0 h 369"/>
            </a:gdLst>
            <a:ahLst/>
            <a:cxnLst>
              <a:cxn ang="0">
                <a:pos x="T0" y="T1"/>
              </a:cxn>
              <a:cxn ang="0">
                <a:pos x="T2" y="T3"/>
              </a:cxn>
              <a:cxn ang="0">
                <a:pos x="T4" y="T5"/>
              </a:cxn>
              <a:cxn ang="0">
                <a:pos x="T6" y="T7"/>
              </a:cxn>
              <a:cxn ang="0">
                <a:pos x="T8" y="T9"/>
              </a:cxn>
            </a:cxnLst>
            <a:rect l="0" t="0" r="r" b="b"/>
            <a:pathLst>
              <a:path w="670" h="369">
                <a:moveTo>
                  <a:pt x="335" y="0"/>
                </a:moveTo>
                <a:lnTo>
                  <a:pt x="0" y="183"/>
                </a:lnTo>
                <a:lnTo>
                  <a:pt x="343" y="369"/>
                </a:lnTo>
                <a:lnTo>
                  <a:pt x="670" y="183"/>
                </a:lnTo>
                <a:lnTo>
                  <a:pt x="33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63" name="Graphic 62">
            <a:extLst>
              <a:ext uri="{FF2B5EF4-FFF2-40B4-BE49-F238E27FC236}">
                <a16:creationId xmlns:a16="http://schemas.microsoft.com/office/drawing/2014/main" id="{99246C25-5996-4ADD-A18B-E38B3F64FA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74192" y="3183751"/>
            <a:ext cx="2712307" cy="1219430"/>
          </a:xfrm>
          <a:prstGeom prst="rect">
            <a:avLst/>
          </a:prstGeom>
        </p:spPr>
      </p:pic>
    </p:spTree>
    <p:extLst>
      <p:ext uri="{BB962C8B-B14F-4D97-AF65-F5344CB8AC3E}">
        <p14:creationId xmlns:p14="http://schemas.microsoft.com/office/powerpoint/2010/main" val="16027307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73438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5721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288549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4" name="Picture 3" descr="Screen capture from teams meeting showing CART captioning">
            <a:extLst>
              <a:ext uri="{FF2B5EF4-FFF2-40B4-BE49-F238E27FC236}">
                <a16:creationId xmlns:a16="http://schemas.microsoft.com/office/drawing/2014/main" id="{743C8604-C60E-49A2-AE1D-B1C111AFB421}"/>
              </a:ext>
            </a:extLst>
          </p:cNvPr>
          <p:cNvPicPr>
            <a:picLocks noChangeAspect="1"/>
          </p:cNvPicPr>
          <p:nvPr userDrawn="1"/>
        </p:nvPicPr>
        <p:blipFill>
          <a:blip r:embed="rId2"/>
          <a:stretch>
            <a:fillRect/>
          </a:stretch>
        </p:blipFill>
        <p:spPr>
          <a:xfrm>
            <a:off x="0" y="0"/>
            <a:ext cx="12116059" cy="6858000"/>
          </a:xfrm>
          <a:prstGeom prst="rect">
            <a:avLst/>
          </a:prstGeom>
        </p:spPr>
      </p:pic>
    </p:spTree>
    <p:extLst>
      <p:ext uri="{BB962C8B-B14F-4D97-AF65-F5344CB8AC3E}">
        <p14:creationId xmlns:p14="http://schemas.microsoft.com/office/powerpoint/2010/main" val="31989685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0698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7195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610485"/>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1888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725767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32261534"/>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1393503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036816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298018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194A9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139142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descr="Woman working on a monitor using AI">
            <a:extLst>
              <a:ext uri="{FF2B5EF4-FFF2-40B4-BE49-F238E27FC236}">
                <a16:creationId xmlns:a16="http://schemas.microsoft.com/office/drawing/2014/main" id="{E58EC34B-8953-4103-AA4D-C12126D91B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6"/>
          <a:stretch/>
        </p:blipFill>
        <p:spPr>
          <a:xfrm>
            <a:off x="0" y="0"/>
            <a:ext cx="12192000" cy="6858000"/>
          </a:xfrm>
          <a:prstGeom prst="rect">
            <a:avLst/>
          </a:prstGeom>
        </p:spPr>
      </p:pic>
    </p:spTree>
    <p:extLst>
      <p:ext uri="{BB962C8B-B14F-4D97-AF65-F5344CB8AC3E}">
        <p14:creationId xmlns:p14="http://schemas.microsoft.com/office/powerpoint/2010/main" val="3270558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84455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755195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3464292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446047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362863"/>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Section Title ">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269240" y="2084172"/>
            <a:ext cx="11650410" cy="1158793"/>
          </a:xfrm>
        </p:spPr>
        <p:txBody>
          <a:bodyPr/>
          <a:lstStyle>
            <a:lvl1pPr marL="0" indent="0">
              <a:buNone/>
              <a:defRPr sz="7058" baseline="0">
                <a:gradFill>
                  <a:gsLst>
                    <a:gs pos="1250">
                      <a:schemeClr val="tx1"/>
                    </a:gs>
                    <a:gs pos="100000">
                      <a:schemeClr val="tx1"/>
                    </a:gs>
                  </a:gsLst>
                  <a:lin ang="5400000" scaled="0"/>
                </a:gradFill>
              </a:defRPr>
            </a:lvl1pPr>
            <a:lvl2pPr marL="336145" indent="0">
              <a:buNone/>
              <a:defRPr/>
            </a:lvl2pPr>
            <a:lvl3pPr marL="560241" indent="0">
              <a:buNone/>
              <a:defRPr/>
            </a:lvl3pPr>
            <a:lvl4pPr marL="784338" indent="0">
              <a:buNone/>
              <a:defRPr/>
            </a:lvl4pPr>
            <a:lvl5pPr marL="1008435" indent="0">
              <a:buNone/>
              <a:defRPr/>
            </a:lvl5pPr>
          </a:lstStyle>
          <a:p>
            <a:pPr lvl="0"/>
            <a:r>
              <a:rPr lang="en-US"/>
              <a:t>Section title</a:t>
            </a:r>
          </a:p>
        </p:txBody>
      </p:sp>
      <p:sp>
        <p:nvSpPr>
          <p:cNvPr id="2" name="Title 1">
            <a:extLst>
              <a:ext uri="{FF2B5EF4-FFF2-40B4-BE49-F238E27FC236}">
                <a16:creationId xmlns:a16="http://schemas.microsoft.com/office/drawing/2014/main" id="{16D218CB-C190-4AEB-B16A-E68D4D363C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001828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10" name="Picture 9" descr="Group of business people at an external Microsoft Event. Microsoft logo is on the booths, along with quotes. The text on top of one of the booths reads &quot;Know your customers&quot;.">
            <a:extLst>
              <a:ext uri="{FF2B5EF4-FFF2-40B4-BE49-F238E27FC236}">
                <a16:creationId xmlns:a16="http://schemas.microsoft.com/office/drawing/2014/main" id="{10FF4C6A-3A25-5447-AB44-81DAF9D8A216}"/>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3375527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9" name="Picture 8" descr="Group of business people at an external Microsoft Event. Microsoft logo is on the booths, along with quotes. The text on top of one of the booths reads &quot;Know your customers&quot;.">
            <a:extLst>
              <a:ext uri="{FF2B5EF4-FFF2-40B4-BE49-F238E27FC236}">
                <a16:creationId xmlns:a16="http://schemas.microsoft.com/office/drawing/2014/main" id="{A257D3F1-B2A3-7F43-96EC-FCE26C24BC27}"/>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102786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quare photo 3">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8" name="Group 7" descr="A collage of a variety of photos displaying First Party Events hosted by Microsoft.">
            <a:extLst>
              <a:ext uri="{FF2B5EF4-FFF2-40B4-BE49-F238E27FC236}">
                <a16:creationId xmlns:a16="http://schemas.microsoft.com/office/drawing/2014/main" id="{23ED231E-1C8B-0147-B38C-7905EB80E5E1}"/>
              </a:ext>
            </a:extLst>
          </p:cNvPr>
          <p:cNvGrpSpPr/>
          <p:nvPr userDrawn="1"/>
        </p:nvGrpSpPr>
        <p:grpSpPr>
          <a:xfrm>
            <a:off x="5326063" y="-1666"/>
            <a:ext cx="6865937" cy="6859666"/>
            <a:chOff x="5326063" y="-1666"/>
            <a:chExt cx="6865937" cy="6859666"/>
          </a:xfrm>
        </p:grpSpPr>
        <p:pic>
          <p:nvPicPr>
            <p:cNvPr id="9" name="Picture 7" descr="image004">
              <a:extLst>
                <a:ext uri="{FF2B5EF4-FFF2-40B4-BE49-F238E27FC236}">
                  <a16:creationId xmlns:a16="http://schemas.microsoft.com/office/drawing/2014/main" id="{2DF096B1-E123-6B45-887B-4B961FA74B3D}"/>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9902400" y="4567163"/>
              <a:ext cx="2289600" cy="22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person standing in front of a crowd&#10;&#10;Description generated with high confidence">
              <a:extLst>
                <a:ext uri="{FF2B5EF4-FFF2-40B4-BE49-F238E27FC236}">
                  <a16:creationId xmlns:a16="http://schemas.microsoft.com/office/drawing/2014/main" id="{704F66ED-2BD9-AE44-9530-A2016E2C11B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614850" y="2277564"/>
              <a:ext cx="2289600" cy="2289600"/>
            </a:xfrm>
            <a:prstGeom prst="rect">
              <a:avLst/>
            </a:prstGeom>
          </p:spPr>
        </p:pic>
        <p:pic>
          <p:nvPicPr>
            <p:cNvPr id="11" name="Picture 10" descr="A picture containing indoor, building, train, floor&#10;&#10;Description generated with very high confidence">
              <a:extLst>
                <a:ext uri="{FF2B5EF4-FFF2-40B4-BE49-F238E27FC236}">
                  <a16:creationId xmlns:a16="http://schemas.microsoft.com/office/drawing/2014/main" id="{1FE27E4F-5EA1-D94D-A39D-AB623DB3CBDF}"/>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614850" y="-1666"/>
              <a:ext cx="2289600" cy="2289600"/>
            </a:xfrm>
            <a:prstGeom prst="rect">
              <a:avLst/>
            </a:prstGeom>
          </p:spPr>
        </p:pic>
        <p:pic>
          <p:nvPicPr>
            <p:cNvPr id="12" name="Picture 11" descr="A group of people looking at a computer&#10;&#10;Description generated with very high confidence">
              <a:extLst>
                <a:ext uri="{FF2B5EF4-FFF2-40B4-BE49-F238E27FC236}">
                  <a16:creationId xmlns:a16="http://schemas.microsoft.com/office/drawing/2014/main" id="{0B2D2CD6-6D3B-DD47-9843-729BD08681B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7614850" y="4567163"/>
              <a:ext cx="2289600" cy="2289600"/>
            </a:xfrm>
            <a:prstGeom prst="rect">
              <a:avLst/>
            </a:prstGeom>
          </p:spPr>
        </p:pic>
        <p:pic>
          <p:nvPicPr>
            <p:cNvPr id="13" name="Picture 12" descr="A view of a city&#10;&#10;Description generated with very high confidence">
              <a:extLst>
                <a:ext uri="{FF2B5EF4-FFF2-40B4-BE49-F238E27FC236}">
                  <a16:creationId xmlns:a16="http://schemas.microsoft.com/office/drawing/2014/main" id="{75228316-FCB6-5E44-B97B-900D2496BF50}"/>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326063" y="2276327"/>
              <a:ext cx="2290837" cy="2290837"/>
            </a:xfrm>
            <a:prstGeom prst="rect">
              <a:avLst/>
            </a:prstGeom>
          </p:spPr>
        </p:pic>
        <p:pic>
          <p:nvPicPr>
            <p:cNvPr id="14" name="Picture 13" descr="A person standing in front of a crowd&#10;&#10;Description generated with high confidence">
              <a:extLst>
                <a:ext uri="{FF2B5EF4-FFF2-40B4-BE49-F238E27FC236}">
                  <a16:creationId xmlns:a16="http://schemas.microsoft.com/office/drawing/2014/main" id="{72BE9066-E68D-434D-9A3A-10B35B595980}"/>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5326063" y="4567163"/>
              <a:ext cx="2290837" cy="2290837"/>
            </a:xfrm>
            <a:prstGeom prst="rect">
              <a:avLst/>
            </a:prstGeom>
          </p:spPr>
        </p:pic>
        <p:pic>
          <p:nvPicPr>
            <p:cNvPr id="15" name="Picture 14" descr="A person standing in front of a computer screen&#10;&#10;Description generated with very high confidence">
              <a:extLst>
                <a:ext uri="{FF2B5EF4-FFF2-40B4-BE49-F238E27FC236}">
                  <a16:creationId xmlns:a16="http://schemas.microsoft.com/office/drawing/2014/main" id="{F5D1A407-C856-EF43-BDA1-40FE809F5E46}"/>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5326064" y="-1666"/>
              <a:ext cx="2290837" cy="2290837"/>
            </a:xfrm>
            <a:prstGeom prst="rect">
              <a:avLst/>
            </a:prstGeom>
          </p:spPr>
        </p:pic>
        <p:pic>
          <p:nvPicPr>
            <p:cNvPr id="16" name="Picture 15" descr="A picture containing person, holding, indoor, floor&#10;&#10;Description automatically generated">
              <a:extLst>
                <a:ext uri="{FF2B5EF4-FFF2-40B4-BE49-F238E27FC236}">
                  <a16:creationId xmlns:a16="http://schemas.microsoft.com/office/drawing/2014/main" id="{899737BC-4F49-2447-88EE-B4BE94667146}"/>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9902400" y="2277564"/>
              <a:ext cx="2289600" cy="2289600"/>
            </a:xfrm>
            <a:prstGeom prst="rect">
              <a:avLst/>
            </a:prstGeom>
          </p:spPr>
        </p:pic>
        <p:pic>
          <p:nvPicPr>
            <p:cNvPr id="17" name="Picture 16" descr="A group of people sitting at a desk&#10;&#10;Description generated with very high confidence">
              <a:extLst>
                <a:ext uri="{FF2B5EF4-FFF2-40B4-BE49-F238E27FC236}">
                  <a16:creationId xmlns:a16="http://schemas.microsoft.com/office/drawing/2014/main" id="{F10F521D-C7C9-F148-B358-5144472C26F7}"/>
                </a:ext>
              </a:extLst>
            </p:cNvPr>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9902400" y="-1666"/>
              <a:ext cx="2289600" cy="2289600"/>
            </a:xfrm>
            <a:prstGeom prst="rect">
              <a:avLst/>
            </a:prstGeom>
          </p:spPr>
        </p:pic>
      </p:grpSp>
    </p:spTree>
    <p:extLst>
      <p:ext uri="{BB962C8B-B14F-4D97-AF65-F5344CB8AC3E}">
        <p14:creationId xmlns:p14="http://schemas.microsoft.com/office/powerpoint/2010/main" val="3476027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quare photo 4">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grpSp>
        <p:nvGrpSpPr>
          <p:cNvPr id="6" name="Group 5" descr="A collage of a variety of photos displaying First Party Events hosted by Microsoft.">
            <a:extLst>
              <a:ext uri="{FF2B5EF4-FFF2-40B4-BE49-F238E27FC236}">
                <a16:creationId xmlns:a16="http://schemas.microsoft.com/office/drawing/2014/main" id="{C3200476-CF71-DA42-9DB4-317E5B5DE808}"/>
              </a:ext>
            </a:extLst>
          </p:cNvPr>
          <p:cNvGrpSpPr/>
          <p:nvPr userDrawn="1"/>
        </p:nvGrpSpPr>
        <p:grpSpPr>
          <a:xfrm>
            <a:off x="5334000" y="-1666"/>
            <a:ext cx="6858000" cy="6859666"/>
            <a:chOff x="5326063" y="-1666"/>
            <a:chExt cx="6865937" cy="6859666"/>
          </a:xfrm>
        </p:grpSpPr>
        <p:pic>
          <p:nvPicPr>
            <p:cNvPr id="8" name="Picture 7" descr="image004">
              <a:extLst>
                <a:ext uri="{FF2B5EF4-FFF2-40B4-BE49-F238E27FC236}">
                  <a16:creationId xmlns:a16="http://schemas.microsoft.com/office/drawing/2014/main" id="{83C2E46C-AEAA-FF4C-AA3D-A36641454A42}"/>
                </a:ext>
              </a:extLst>
            </p:cNvPr>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9902400" y="4567163"/>
              <a:ext cx="2289600" cy="228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person standing in front of a crowd&#10;&#10;Description generated with high confidence">
              <a:extLst>
                <a:ext uri="{FF2B5EF4-FFF2-40B4-BE49-F238E27FC236}">
                  <a16:creationId xmlns:a16="http://schemas.microsoft.com/office/drawing/2014/main" id="{C0F9D748-2908-5D41-B7DF-A0B52DB9D49E}"/>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614850" y="2277564"/>
              <a:ext cx="2289600" cy="2289600"/>
            </a:xfrm>
            <a:prstGeom prst="rect">
              <a:avLst/>
            </a:prstGeom>
          </p:spPr>
        </p:pic>
        <p:pic>
          <p:nvPicPr>
            <p:cNvPr id="11" name="Picture 10" descr="A picture containing indoor, building, train, floor&#10;&#10;Description generated with very high confidence">
              <a:extLst>
                <a:ext uri="{FF2B5EF4-FFF2-40B4-BE49-F238E27FC236}">
                  <a16:creationId xmlns:a16="http://schemas.microsoft.com/office/drawing/2014/main" id="{B5EC4E0E-7CD2-6242-A424-BAD557543C8B}"/>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614850" y="-1666"/>
              <a:ext cx="2289600" cy="2289600"/>
            </a:xfrm>
            <a:prstGeom prst="rect">
              <a:avLst/>
            </a:prstGeom>
          </p:spPr>
        </p:pic>
        <p:pic>
          <p:nvPicPr>
            <p:cNvPr id="12" name="Picture 11" descr="A group of people looking at a computer&#10;&#10;Description generated with very high confidence">
              <a:extLst>
                <a:ext uri="{FF2B5EF4-FFF2-40B4-BE49-F238E27FC236}">
                  <a16:creationId xmlns:a16="http://schemas.microsoft.com/office/drawing/2014/main" id="{6C16B763-C428-7643-8447-3D9BD90C54E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7614850" y="4567163"/>
              <a:ext cx="2289600" cy="2289600"/>
            </a:xfrm>
            <a:prstGeom prst="rect">
              <a:avLst/>
            </a:prstGeom>
          </p:spPr>
        </p:pic>
        <p:pic>
          <p:nvPicPr>
            <p:cNvPr id="13" name="Picture 12" descr="A view of a city&#10;&#10;Description generated with very high confidence">
              <a:extLst>
                <a:ext uri="{FF2B5EF4-FFF2-40B4-BE49-F238E27FC236}">
                  <a16:creationId xmlns:a16="http://schemas.microsoft.com/office/drawing/2014/main" id="{61758EF6-6E34-2A44-8A03-3631856931BA}"/>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326063" y="2276327"/>
              <a:ext cx="2290837" cy="2290837"/>
            </a:xfrm>
            <a:prstGeom prst="rect">
              <a:avLst/>
            </a:prstGeom>
          </p:spPr>
        </p:pic>
        <p:pic>
          <p:nvPicPr>
            <p:cNvPr id="14" name="Picture 13" descr="A person standing in front of a crowd&#10;&#10;Description generated with high confidence">
              <a:extLst>
                <a:ext uri="{FF2B5EF4-FFF2-40B4-BE49-F238E27FC236}">
                  <a16:creationId xmlns:a16="http://schemas.microsoft.com/office/drawing/2014/main" id="{978EFB9E-995C-D84B-8C85-D5D653D41D85}"/>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5326063" y="4567163"/>
              <a:ext cx="2290837" cy="2290837"/>
            </a:xfrm>
            <a:prstGeom prst="rect">
              <a:avLst/>
            </a:prstGeom>
          </p:spPr>
        </p:pic>
        <p:pic>
          <p:nvPicPr>
            <p:cNvPr id="15" name="Picture 14" descr="A person standing in front of a computer screen&#10;&#10;Description generated with very high confidence">
              <a:extLst>
                <a:ext uri="{FF2B5EF4-FFF2-40B4-BE49-F238E27FC236}">
                  <a16:creationId xmlns:a16="http://schemas.microsoft.com/office/drawing/2014/main" id="{385C5D21-D691-BE4D-B742-B12EE41B8D04}"/>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5326064" y="-1666"/>
              <a:ext cx="2290837" cy="2290837"/>
            </a:xfrm>
            <a:prstGeom prst="rect">
              <a:avLst/>
            </a:prstGeom>
          </p:spPr>
        </p:pic>
        <p:pic>
          <p:nvPicPr>
            <p:cNvPr id="16" name="Picture 15" descr="A picture containing person, holding, indoor, floor&#10;&#10;Description automatically generated">
              <a:extLst>
                <a:ext uri="{FF2B5EF4-FFF2-40B4-BE49-F238E27FC236}">
                  <a16:creationId xmlns:a16="http://schemas.microsoft.com/office/drawing/2014/main" id="{B4E86CB0-CB5A-114B-8D81-C91E7EAC7A70}"/>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9902400" y="2277564"/>
              <a:ext cx="2289600" cy="2289600"/>
            </a:xfrm>
            <a:prstGeom prst="rect">
              <a:avLst/>
            </a:prstGeom>
          </p:spPr>
        </p:pic>
        <p:pic>
          <p:nvPicPr>
            <p:cNvPr id="17" name="Picture 16" descr="A group of people sitting at a desk&#10;&#10;Description generated with very high confidence">
              <a:extLst>
                <a:ext uri="{FF2B5EF4-FFF2-40B4-BE49-F238E27FC236}">
                  <a16:creationId xmlns:a16="http://schemas.microsoft.com/office/drawing/2014/main" id="{8F2D8DB0-7A7A-BB48-82FC-36664A226D47}"/>
                </a:ext>
              </a:extLst>
            </p:cNvPr>
            <p:cNvPicPr>
              <a:picLocks noChangeAspect="1"/>
            </p:cNvPicPr>
            <p:nvPr userDrawn="1"/>
          </p:nvPicPr>
          <p:blipFill rotWithShape="1">
            <a:blip r:embed="rId11" cstate="print">
              <a:extLst>
                <a:ext uri="{28A0092B-C50C-407E-A947-70E740481C1C}">
                  <a14:useLocalDpi xmlns:a14="http://schemas.microsoft.com/office/drawing/2010/main"/>
                </a:ext>
              </a:extLst>
            </a:blip>
            <a:srcRect/>
            <a:stretch/>
          </p:blipFill>
          <p:spPr>
            <a:xfrm>
              <a:off x="9902400" y="-1666"/>
              <a:ext cx="2289600" cy="2289600"/>
            </a:xfrm>
            <a:prstGeom prst="rect">
              <a:avLst/>
            </a:prstGeom>
          </p:spPr>
        </p:pic>
      </p:grpSp>
    </p:spTree>
    <p:extLst>
      <p:ext uri="{BB962C8B-B14F-4D97-AF65-F5344CB8AC3E}">
        <p14:creationId xmlns:p14="http://schemas.microsoft.com/office/powerpoint/2010/main" val="33164937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0886361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quare photo 5">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big group of Microsoft Employees wearing red jackets stand on the stage. They are celebrating their achievements. A large audience sits behind them in the arena, applauding them.">
            <a:extLst>
              <a:ext uri="{FF2B5EF4-FFF2-40B4-BE49-F238E27FC236}">
                <a16:creationId xmlns:a16="http://schemas.microsoft.com/office/drawing/2014/main" id="{1FD08EEA-7459-A14C-89CE-DD5B91D9246D}"/>
              </a:ext>
            </a:extLst>
          </p:cNvPr>
          <p:cNvPicPr>
            <a:picLocks noChangeAspect="1"/>
          </p:cNvPicPr>
          <p:nvPr userDrawn="1"/>
        </p:nvPicPr>
        <p:blipFill>
          <a:blip r:embed="rId3"/>
          <a:stretch>
            <a:fillRect/>
          </a:stretch>
        </p:blipFill>
        <p:spPr>
          <a:xfrm>
            <a:off x="5334000" y="0"/>
            <a:ext cx="6858001" cy="6858000"/>
          </a:xfrm>
          <a:prstGeom prst="rect">
            <a:avLst/>
          </a:prstGeom>
        </p:spPr>
      </p:pic>
    </p:spTree>
    <p:extLst>
      <p:ext uri="{BB962C8B-B14F-4D97-AF65-F5344CB8AC3E}">
        <p14:creationId xmlns:p14="http://schemas.microsoft.com/office/powerpoint/2010/main" val="4192194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quare photo 6">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big group of Microsoft Employees wearing red jackets stand on the stage. They are celebrating their achievements. A large audience sits behind them in the arena, applauding them.">
            <a:extLst>
              <a:ext uri="{FF2B5EF4-FFF2-40B4-BE49-F238E27FC236}">
                <a16:creationId xmlns:a16="http://schemas.microsoft.com/office/drawing/2014/main" id="{DF39E64B-2566-6348-9ECD-AACDD8C7B7D5}"/>
              </a:ext>
            </a:extLst>
          </p:cNvPr>
          <p:cNvPicPr>
            <a:picLocks noChangeAspect="1"/>
          </p:cNvPicPr>
          <p:nvPr userDrawn="1"/>
        </p:nvPicPr>
        <p:blipFill>
          <a:blip r:embed="rId3"/>
          <a:stretch>
            <a:fillRect/>
          </a:stretch>
        </p:blipFill>
        <p:spPr>
          <a:xfrm>
            <a:off x="5334000" y="0"/>
            <a:ext cx="6858001" cy="6858000"/>
          </a:xfrm>
          <a:prstGeom prst="rect">
            <a:avLst/>
          </a:prstGeom>
        </p:spPr>
      </p:pic>
    </p:spTree>
    <p:extLst>
      <p:ext uri="{BB962C8B-B14F-4D97-AF65-F5344CB8AC3E}">
        <p14:creationId xmlns:p14="http://schemas.microsoft.com/office/powerpoint/2010/main" val="3473076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quare photo 7">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big Microsoft sign sits outside behind a garden of flowers, illuminated from below. People are sitting at tables, enjoying their time and talking with one another under white umbrellas.">
            <a:extLst>
              <a:ext uri="{FF2B5EF4-FFF2-40B4-BE49-F238E27FC236}">
                <a16:creationId xmlns:a16="http://schemas.microsoft.com/office/drawing/2014/main" id="{948A5E9F-90B9-854F-AA3C-AA40896A95E7}"/>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22578633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quare photo 8">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big Microsoft sign sits outside behind a garden of flowers, illuminated from below. People are sitting at tables, enjoying their time and talking with one another under white umbrellas.">
            <a:extLst>
              <a:ext uri="{FF2B5EF4-FFF2-40B4-BE49-F238E27FC236}">
                <a16:creationId xmlns:a16="http://schemas.microsoft.com/office/drawing/2014/main" id="{62CD33C4-9D39-0640-9F39-85931AC2F62E}"/>
              </a:ext>
            </a:extLst>
          </p:cNvPr>
          <p:cNvPicPr>
            <a:picLocks noChangeAspect="1"/>
          </p:cNvPicPr>
          <p:nvPr userDrawn="1"/>
        </p:nvPicPr>
        <p:blipFill>
          <a:blip r:embed="rId3"/>
          <a:stretch>
            <a:fillRect/>
          </a:stretch>
        </p:blipFill>
        <p:spPr>
          <a:xfrm>
            <a:off x="5334000" y="0"/>
            <a:ext cx="6858000" cy="6858000"/>
          </a:xfrm>
          <a:prstGeom prst="rect">
            <a:avLst/>
          </a:prstGeom>
        </p:spPr>
      </p:pic>
    </p:spTree>
    <p:extLst>
      <p:ext uri="{BB962C8B-B14F-4D97-AF65-F5344CB8AC3E}">
        <p14:creationId xmlns:p14="http://schemas.microsoft.com/office/powerpoint/2010/main" val="28884299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quare photo 9">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man is speaking to another man and a woman at a booth. On the right side of the screen is a sign that says &quot;Welcome to The Hub&quot;.">
            <a:extLst>
              <a:ext uri="{FF2B5EF4-FFF2-40B4-BE49-F238E27FC236}">
                <a16:creationId xmlns:a16="http://schemas.microsoft.com/office/drawing/2014/main" id="{BDEA7E04-DED0-B643-901A-7EB2E4A2BC63}"/>
              </a:ext>
            </a:extLst>
          </p:cNvPr>
          <p:cNvPicPr>
            <a:picLocks noChangeAspect="1"/>
          </p:cNvPicPr>
          <p:nvPr userDrawn="1"/>
        </p:nvPicPr>
        <p:blipFill>
          <a:blip r:embed="rId3"/>
          <a:stretch>
            <a:fillRect/>
          </a:stretch>
        </p:blipFill>
        <p:spPr>
          <a:xfrm>
            <a:off x="5326063" y="0"/>
            <a:ext cx="6865937" cy="6858000"/>
          </a:xfrm>
          <a:prstGeom prst="rect">
            <a:avLst/>
          </a:prstGeom>
        </p:spPr>
      </p:pic>
    </p:spTree>
    <p:extLst>
      <p:ext uri="{BB962C8B-B14F-4D97-AF65-F5344CB8AC3E}">
        <p14:creationId xmlns:p14="http://schemas.microsoft.com/office/powerpoint/2010/main" val="88039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quare photo 10">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4" name="Picture 3" descr="A man is speaking to another man and a woman at a booth. On the right side of the screen is a sign that says &quot;Welcome to The Hub&quot;.">
            <a:extLst>
              <a:ext uri="{FF2B5EF4-FFF2-40B4-BE49-F238E27FC236}">
                <a16:creationId xmlns:a16="http://schemas.microsoft.com/office/drawing/2014/main" id="{2EA13B6A-37AA-3D42-9A8D-2C6D597F2302}"/>
              </a:ext>
            </a:extLst>
          </p:cNvPr>
          <p:cNvPicPr>
            <a:picLocks noChangeAspect="1"/>
          </p:cNvPicPr>
          <p:nvPr userDrawn="1"/>
        </p:nvPicPr>
        <p:blipFill>
          <a:blip r:embed="rId3"/>
          <a:stretch>
            <a:fillRect/>
          </a:stretch>
        </p:blipFill>
        <p:spPr>
          <a:xfrm>
            <a:off x="5334001" y="0"/>
            <a:ext cx="6858000" cy="6858000"/>
          </a:xfrm>
          <a:prstGeom prst="rect">
            <a:avLst/>
          </a:prstGeom>
        </p:spPr>
      </p:pic>
    </p:spTree>
    <p:extLst>
      <p:ext uri="{BB962C8B-B14F-4D97-AF65-F5344CB8AC3E}">
        <p14:creationId xmlns:p14="http://schemas.microsoft.com/office/powerpoint/2010/main" val="20830524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man stands in front of the Landmark, looking up. The Landmark is illuminated in blue, under a large latticework dome.">
            <a:extLst>
              <a:ext uri="{FF2B5EF4-FFF2-40B4-BE49-F238E27FC236}">
                <a16:creationId xmlns:a16="http://schemas.microsoft.com/office/drawing/2014/main" id="{E22578DD-3F6E-AD49-A2DD-967E46E7B417}"/>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7567348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quare photo 1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man stands in front of the Landmark, looking up. The Landmark is illuminated in blue, under a large latticework dome.">
            <a:extLst>
              <a:ext uri="{FF2B5EF4-FFF2-40B4-BE49-F238E27FC236}">
                <a16:creationId xmlns:a16="http://schemas.microsoft.com/office/drawing/2014/main" id="{6409C1CD-8B91-004F-9CD3-A223CF1A01A7}"/>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3764194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212088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2" name="TextBox 1">
            <a:extLst>
              <a:ext uri="{FF2B5EF4-FFF2-40B4-BE49-F238E27FC236}">
                <a16:creationId xmlns:a16="http://schemas.microsoft.com/office/drawing/2014/main" id="{05D3FF9F-838A-CD4C-9D66-60D9C73D7895}"/>
              </a:ext>
            </a:extLst>
          </p:cNvPr>
          <p:cNvSpPr txBox="1"/>
          <p:nvPr userDrawn="1"/>
        </p:nvSpPr>
        <p:spPr>
          <a:xfrm>
            <a:off x="9725627" y="585788"/>
            <a:ext cx="1907573" cy="543226"/>
          </a:xfrm>
          <a:prstGeom prst="rect">
            <a:avLst/>
          </a:prstGeom>
          <a:noFill/>
        </p:spPr>
        <p:txBody>
          <a:bodyPr wrap="none" lIns="0" tIns="0" rIns="0" bIns="0" rtlCol="0">
            <a:spAutoFit/>
          </a:bodyPr>
          <a:lstStyle/>
          <a:p>
            <a:pPr algn="l"/>
            <a:r>
              <a:rPr lang="en-CA" sz="1765" b="0" i="0" kern="1200">
                <a:solidFill>
                  <a:schemeClr val="tx1"/>
                </a:solidFill>
                <a:effectLst/>
                <a:latin typeface="+mj-lt"/>
                <a:ea typeface="+mn-ea"/>
                <a:cs typeface="+mn-cs"/>
              </a:rPr>
              <a:t>Events, Studios &amp;</a:t>
            </a:r>
            <a:br>
              <a:rPr lang="en-CA" sz="2000">
                <a:latin typeface="+mj-lt"/>
              </a:rPr>
            </a:br>
            <a:r>
              <a:rPr lang="en-CA" sz="1765" b="0" i="0" kern="1200">
                <a:solidFill>
                  <a:schemeClr val="tx1"/>
                </a:solidFill>
                <a:effectLst/>
                <a:latin typeface="+mj-lt"/>
                <a:ea typeface="+mn-ea"/>
                <a:cs typeface="+mn-cs"/>
              </a:rPr>
              <a:t>MCB Communities</a:t>
            </a:r>
            <a:endParaRPr lang="en-US" sz="2000" err="1">
              <a:gradFill>
                <a:gsLst>
                  <a:gs pos="2917">
                    <a:schemeClr val="tx1"/>
                  </a:gs>
                  <a:gs pos="30000">
                    <a:schemeClr val="tx1"/>
                  </a:gs>
                </a:gsLst>
                <a:lin ang="5400000" scaled="0"/>
              </a:gradFill>
              <a:latin typeface="+mj-lt"/>
            </a:endParaRPr>
          </a:p>
        </p:txBody>
      </p:sp>
    </p:spTree>
    <p:extLst>
      <p:ext uri="{BB962C8B-B14F-4D97-AF65-F5344CB8AC3E}">
        <p14:creationId xmlns:p14="http://schemas.microsoft.com/office/powerpoint/2010/main" val="40211935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41903408"/>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73090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7775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49636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2420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824629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9825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1942448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CCF43710-F101-DC4D-86BD-67814D9C43C2}"/>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65658673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C78B85C9-FF24-884E-8A44-E6BBF68A9D93}"/>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7598035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BD3A9EF6-D92B-8247-A82E-82353A99A4EF}"/>
              </a:ext>
            </a:extLst>
          </p:cNvPr>
          <p:cNvSpPr>
            <a:spLocks noGrp="1"/>
          </p:cNvSpPr>
          <p:nvPr>
            <p:ph type="pic" sz="quarter" idx="12" hasCustomPrompt="1"/>
          </p:nvPr>
        </p:nvSpPr>
        <p:spPr bwMode="gray">
          <a:xfrm>
            <a:off x="0" y="0"/>
            <a:ext cx="12192000" cy="4572000"/>
          </a:xfrm>
          <a:blipFill>
            <a:blip r:embed="rId3"/>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3974165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3771252"/>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135C926B-4FA0-B24F-8375-380A81BDE07C}"/>
              </a:ext>
            </a:extLst>
          </p:cNvPr>
          <p:cNvSpPr>
            <a:spLocks noGrp="1"/>
          </p:cNvSpPr>
          <p:nvPr>
            <p:ph type="pic" sz="quarter" idx="12" hasCustomPrompt="1"/>
          </p:nvPr>
        </p:nvSpPr>
        <p:spPr bwMode="gray">
          <a:xfrm>
            <a:off x="0" y="2286000"/>
            <a:ext cx="12192000" cy="4572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9748479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2192834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8088063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235852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0267456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754995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66663131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6952218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7956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439783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26824655"/>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60141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133745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8716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13218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1211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854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814658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21603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775378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76024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2338337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12191999" cy="6858000"/>
          </a:xfrm>
          <a:prstGeom prst="rect">
            <a:avLst/>
          </a:prstGeom>
        </p:spPr>
      </p:pic>
      <p:sp>
        <p:nvSpPr>
          <p:cNvPr id="6" name="Rectangle 5">
            <a:extLst>
              <a:ext uri="{FF2B5EF4-FFF2-40B4-BE49-F238E27FC236}">
                <a16:creationId xmlns:a16="http://schemas.microsoft.com/office/drawing/2014/main" id="{48ABF31F-BF0C-40A7-9DDD-176F78EC6718}"/>
              </a:ext>
            </a:extLst>
          </p:cNvPr>
          <p:cNvSpPr/>
          <p:nvPr userDrawn="1"/>
        </p:nvSpPr>
        <p:spPr bwMode="auto">
          <a:xfrm>
            <a:off x="0" y="0"/>
            <a:ext cx="8050924" cy="6858000"/>
          </a:xfrm>
          <a:prstGeom prst="rect">
            <a:avLst/>
          </a:prstGeom>
          <a:gradFill>
            <a:gsLst>
              <a:gs pos="0">
                <a:schemeClr val="tx1"/>
              </a:gs>
              <a:gs pos="100000">
                <a:schemeClr val="tx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2125158"/>
          </a:xfrm>
          <a:noFill/>
        </p:spPr>
        <p:txBody>
          <a:bodyPr lIns="146304" tIns="91440" rIns="146304" bIns="91440" anchor="b"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91838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085229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6111775"/>
            <a:ext cx="1423303" cy="304828"/>
          </a:xfrm>
          <a:prstGeom prst="rect">
            <a:avLst/>
          </a:prstGeom>
        </p:spPr>
      </p:pic>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4399" y="-2839"/>
            <a:ext cx="6095873" cy="6888229"/>
          </a:xfrm>
          <a:prstGeom prst="rect">
            <a:avLst/>
          </a:prstGeom>
        </p:spPr>
      </p:pic>
    </p:spTree>
    <p:extLst>
      <p:ext uri="{BB962C8B-B14F-4D97-AF65-F5344CB8AC3E}">
        <p14:creationId xmlns:p14="http://schemas.microsoft.com/office/powerpoint/2010/main" val="17864657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3" spc="-98" baseline="0">
                <a:solidFill>
                  <a:schemeClr val="tx1"/>
                </a:soli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6" spc="0" baseline="0">
                <a:solidFill>
                  <a:schemeClr val="tx1"/>
                </a:soli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61" kern="1200" spc="0" baseline="0" dirty="0" smtClean="0">
                <a:solidFill>
                  <a:schemeClr val="tx1"/>
                </a:soli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0160743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2077813"/>
            <a:ext cx="6274911" cy="1793104"/>
          </a:xfrm>
          <a:noFill/>
        </p:spPr>
        <p:txBody>
          <a:bodyPr lIns="146304" tIns="91440" rIns="146304" bIns="91440" anchor="t" anchorCtr="0"/>
          <a:lstStyle>
            <a:lvl1pPr>
              <a:defRPr sz="4704"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7"/>
            <a:ext cx="6276530" cy="651821"/>
          </a:xfrm>
        </p:spPr>
        <p:txBody>
          <a:bodyPr wrap="square" lIns="164592" tIns="109728" rIns="164592" bIns="109728">
            <a:spAutoFit/>
          </a:bodyPr>
          <a:lstStyle>
            <a:lvl1pPr marL="0" indent="0">
              <a:spcBef>
                <a:spcPts val="0"/>
              </a:spcBef>
              <a:buNone/>
              <a:defRPr sz="3136">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209635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with photo - Dark">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12191999" cy="6858000"/>
          </a:xfrm>
          <a:prstGeom prst="rect">
            <a:avLst/>
          </a:prstGeom>
        </p:spPr>
      </p:pic>
      <p:sp>
        <p:nvSpPr>
          <p:cNvPr id="6" name="Rectangle 5">
            <a:extLst>
              <a:ext uri="{FF2B5EF4-FFF2-40B4-BE49-F238E27FC236}">
                <a16:creationId xmlns:a16="http://schemas.microsoft.com/office/drawing/2014/main" id="{48ABF31F-BF0C-40A7-9DDD-176F78EC6718}"/>
              </a:ext>
            </a:extLst>
          </p:cNvPr>
          <p:cNvSpPr/>
          <p:nvPr userDrawn="1"/>
        </p:nvSpPr>
        <p:spPr bwMode="auto">
          <a:xfrm>
            <a:off x="0" y="0"/>
            <a:ext cx="8050924" cy="6858000"/>
          </a:xfrm>
          <a:prstGeom prst="rect">
            <a:avLst/>
          </a:prstGeom>
          <a:gradFill>
            <a:gsLst>
              <a:gs pos="0">
                <a:schemeClr val="tx1"/>
              </a:gs>
              <a:gs pos="100000">
                <a:schemeClr val="tx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3" y="1751517"/>
            <a:ext cx="6274911" cy="2125158"/>
          </a:xfrm>
          <a:noFill/>
        </p:spPr>
        <p:txBody>
          <a:bodyPr lIns="146304" tIns="91440" rIns="146304" bIns="91440" anchor="b" anchorCtr="0"/>
          <a:lstStyle>
            <a:lvl1pPr>
              <a:defRPr sz="4704"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6891"/>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344548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with photo -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3" y="1751302"/>
            <a:ext cx="6274911" cy="2125158"/>
          </a:xfrm>
          <a:noFill/>
        </p:spPr>
        <p:txBody>
          <a:bodyPr lIns="146304" tIns="91440" rIns="146304" bIns="91440" anchor="b" anchorCtr="0"/>
          <a:lstStyle>
            <a:lvl1pPr>
              <a:defRPr sz="4704"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6675"/>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7" name="MS logo gray - EMF">
            <a:extLst>
              <a:ext uri="{FF2B5EF4-FFF2-40B4-BE49-F238E27FC236}">
                <a16:creationId xmlns:a16="http://schemas.microsoft.com/office/drawing/2014/main" id="{0CE1DC85-95F4-4E7F-AFD3-9000FCD7694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406099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Slide - Solid Background">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2053929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b"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19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6111775"/>
            <a:ext cx="1423303" cy="304828"/>
          </a:xfrm>
          <a:prstGeom prst="rect">
            <a:avLst/>
          </a:prstGeom>
        </p:spPr>
      </p:pic>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4400" y="-2838"/>
            <a:ext cx="6095873" cy="6888229"/>
          </a:xfrm>
          <a:prstGeom prst="rect">
            <a:avLst/>
          </a:prstGeom>
        </p:spPr>
      </p:pic>
    </p:spTree>
    <p:extLst>
      <p:ext uri="{BB962C8B-B14F-4D97-AF65-F5344CB8AC3E}">
        <p14:creationId xmlns:p14="http://schemas.microsoft.com/office/powerpoint/2010/main" val="2440802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00488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486344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31832329"/>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46023472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2752857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35447991"/>
      </p:ext>
    </p:extLst>
  </p:cSld>
  <p:clrMapOvr>
    <a:masterClrMapping/>
  </p:clrMapOvr>
  <p:transition>
    <p:fade/>
  </p:transition>
  <p:extLst>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05" indent="0">
              <a:buFont typeface="Wingdings" panose="05000000000000000000" pitchFamily="2" charset="2"/>
              <a:buNone/>
              <a:defRPr sz="2353" b="0"/>
            </a:lvl2pPr>
            <a:lvl3pPr marL="441883" indent="0">
              <a:buFont typeface="Wingdings" panose="05000000000000000000" pitchFamily="2" charset="2"/>
              <a:buNone/>
              <a:tabLst/>
              <a:defRPr sz="2157" b="0"/>
            </a:lvl3pPr>
            <a:lvl4pPr marL="639485" indent="0">
              <a:buFont typeface="Wingdings" panose="05000000000000000000" pitchFamily="2" charset="2"/>
              <a:buNone/>
              <a:defRPr sz="2157" b="0"/>
            </a:lvl4pPr>
            <a:lvl5pPr marL="837089"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05"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883"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485"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089"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120" marR="0" lvl="0" indent="-504120" algn="l" defTabSz="914192" rtl="0" eaLnBrk="1" fontAlgn="auto" latinLnBrk="0" hangingPunct="1">
              <a:lnSpc>
                <a:spcPct val="90000"/>
              </a:lnSpc>
              <a:spcBef>
                <a:spcPts val="1200"/>
              </a:spcBef>
              <a:spcAft>
                <a:spcPts val="0"/>
              </a:spcAft>
              <a:buClr>
                <a:schemeClr val="tx1"/>
              </a:buClr>
              <a:buSzPct val="90000"/>
              <a:tabLst/>
            </a:pPr>
            <a:r>
              <a:rPr lang="en-US"/>
              <a:t>Edit Master text styles</a:t>
            </a:r>
          </a:p>
          <a:p>
            <a:pPr marL="504120" marR="0" lvl="1" indent="-504120" algn="l" defTabSz="914192" rtl="0" eaLnBrk="1" fontAlgn="auto" latinLnBrk="0" hangingPunct="1">
              <a:lnSpc>
                <a:spcPct val="90000"/>
              </a:lnSpc>
              <a:spcBef>
                <a:spcPts val="1200"/>
              </a:spcBef>
              <a:spcAft>
                <a:spcPts val="0"/>
              </a:spcAft>
              <a:buClr>
                <a:schemeClr val="tx1"/>
              </a:buClr>
              <a:buSzPct val="90000"/>
              <a:tabLst/>
            </a:pPr>
            <a:r>
              <a:rPr lang="en-US"/>
              <a:t>Second level</a:t>
            </a:r>
          </a:p>
          <a:p>
            <a:pPr marL="504120" marR="0" lvl="2" indent="-504120" algn="l" defTabSz="914192" rtl="0" eaLnBrk="1" fontAlgn="auto" latinLnBrk="0" hangingPunct="1">
              <a:lnSpc>
                <a:spcPct val="90000"/>
              </a:lnSpc>
              <a:spcBef>
                <a:spcPts val="1200"/>
              </a:spcBef>
              <a:spcAft>
                <a:spcPts val="0"/>
              </a:spcAft>
              <a:buClr>
                <a:schemeClr val="tx1"/>
              </a:buClr>
              <a:buSzPct val="90000"/>
              <a:tabLst/>
            </a:pPr>
            <a:r>
              <a:rPr lang="en-US"/>
              <a:t>Third level</a:t>
            </a:r>
          </a:p>
          <a:p>
            <a:pPr marL="504120" marR="0" lvl="3" indent="-504120" algn="l" defTabSz="914192" rtl="0" eaLnBrk="1" fontAlgn="auto" latinLnBrk="0" hangingPunct="1">
              <a:lnSpc>
                <a:spcPct val="90000"/>
              </a:lnSpc>
              <a:spcBef>
                <a:spcPts val="1200"/>
              </a:spcBef>
              <a:spcAft>
                <a:spcPts val="0"/>
              </a:spcAft>
              <a:buClr>
                <a:schemeClr val="tx1"/>
              </a:buClr>
              <a:buSzPct val="90000"/>
              <a:tabLst/>
            </a:pPr>
            <a:r>
              <a:rPr lang="en-US"/>
              <a:t>Fourth level</a:t>
            </a:r>
          </a:p>
          <a:p>
            <a:pPr marL="504120" marR="0" lvl="4" indent="-504120" algn="l" defTabSz="91419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71427521"/>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2" y="1187644"/>
            <a:ext cx="5378548" cy="2115402"/>
          </a:xfrm>
        </p:spPr>
        <p:txBody>
          <a:bodyPr wrap="square">
            <a:spAutoFit/>
          </a:bodyPr>
          <a:lstStyle>
            <a:lvl1pPr marL="227165" indent="-227165">
              <a:spcBef>
                <a:spcPts val="1200"/>
              </a:spcBef>
              <a:buClr>
                <a:schemeClr val="tx1"/>
              </a:buClr>
              <a:buFont typeface="Wingdings" panose="05000000000000000000" pitchFamily="2" charset="2"/>
              <a:buChar char=""/>
              <a:defRPr sz="2941" b="0">
                <a:latin typeface="+mn-lt"/>
              </a:defRPr>
            </a:lvl1pPr>
            <a:lvl2pPr marL="418545" indent="-168040">
              <a:buFont typeface="Wingdings" panose="05000000000000000000" pitchFamily="2" charset="2"/>
              <a:buChar char=""/>
              <a:defRPr sz="2353" b="0"/>
            </a:lvl2pPr>
            <a:lvl3pPr marL="627039" indent="-185155">
              <a:buFont typeface="Wingdings" panose="05000000000000000000" pitchFamily="2" charset="2"/>
              <a:buChar char=""/>
              <a:tabLst/>
              <a:defRPr sz="2157" b="0"/>
            </a:lvl3pPr>
            <a:lvl4pPr marL="812194" indent="-172709">
              <a:buFont typeface="Wingdings" panose="05000000000000000000" pitchFamily="2" charset="2"/>
              <a:buChar char=""/>
              <a:defRPr sz="2157" b="0"/>
            </a:lvl4pPr>
            <a:lvl5pPr marL="1003573" indent="-166485">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5"/>
            <a:ext cx="5378548" cy="2462213"/>
          </a:xfrm>
        </p:spPr>
        <p:txBody>
          <a:bodyPr wrap="square">
            <a:spAutoFit/>
          </a:bodyPr>
          <a:lstStyle>
            <a:lvl1pPr marL="281623" indent="-281623">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585" indent="-336080">
              <a:defRPr lang="en-US" sz="2353" b="0" kern="1200" spc="0" baseline="0" dirty="0">
                <a:gradFill>
                  <a:gsLst>
                    <a:gs pos="1250">
                      <a:schemeClr val="tx1"/>
                    </a:gs>
                    <a:gs pos="100000">
                      <a:schemeClr val="tx1"/>
                    </a:gs>
                  </a:gsLst>
                  <a:lin ang="5400000" scaled="0"/>
                </a:gradFill>
                <a:latin typeface="+mn-lt"/>
                <a:ea typeface="+mn-ea"/>
                <a:cs typeface="+mn-cs"/>
              </a:defRPr>
            </a:lvl2pPr>
            <a:lvl3pPr marL="777963" indent="-336080">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565" indent="-336080">
              <a:defRPr lang="en-US" sz="2157" b="0" kern="1200" spc="0" baseline="0" dirty="0">
                <a:gradFill>
                  <a:gsLst>
                    <a:gs pos="1250">
                      <a:schemeClr val="tx1"/>
                    </a:gs>
                    <a:gs pos="100000">
                      <a:schemeClr val="tx1"/>
                    </a:gs>
                  </a:gsLst>
                  <a:lin ang="5400000" scaled="0"/>
                </a:gradFill>
                <a:latin typeface="+mn-lt"/>
                <a:ea typeface="+mn-ea"/>
                <a:cs typeface="+mn-cs"/>
              </a:defRPr>
            </a:lvl4pPr>
            <a:lvl5pPr marL="1173170" indent="-336080">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165" marR="0" lvl="0"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65" marR="0" lvl="1"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65" marR="0" lvl="2"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65" marR="0" lvl="3"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65" marR="0" lvl="4" indent="-227165" algn="l" defTabSz="91419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87155737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6096000" y="0"/>
            <a:ext cx="6096000" cy="6856100"/>
          </a:xfrm>
          <a:prstGeom prst="rect">
            <a:avLst/>
          </a:prstGeo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902015155"/>
      </p:ext>
    </p:extLst>
  </p:cSld>
  <p:clrMapOvr>
    <a:masterClrMapping/>
  </p:clrMapOvr>
  <p:transition>
    <p:fade/>
  </p:transition>
  <p:extLst>
    <p:ext uri="{DCECCB84-F9BA-43D5-87BE-67443E8EF086}">
      <p15:sldGuideLst xmlns:p15="http://schemas.microsoft.com/office/powerpoint/2012/main">
        <p15:guide id="1" pos="33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7077700"/>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9805242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953955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6381074"/>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88112691"/>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937786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19900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02862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007171989"/>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932229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340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3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78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8814371"/>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981719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11781227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73575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44992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613297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29">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7845"/>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6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6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385699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360736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3981675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34"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134"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869"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8923" indent="0">
              <a:buClr>
                <a:schemeClr val="tx1"/>
              </a:buClr>
              <a:buSzPct val="90000"/>
              <a:buFont typeface="Arial" pitchFamily="34" charset="0"/>
              <a:buNone/>
              <a:defRPr sz="1567"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91405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a:t>Click on icon to insert picture, then send to back</a:t>
            </a:r>
          </a:p>
        </p:txBody>
      </p:sp>
      <p:sp>
        <p:nvSpPr>
          <p:cNvPr id="4" name="Title 1"/>
          <p:cNvSpPr>
            <a:spLocks noGrp="1"/>
          </p:cNvSpPr>
          <p:nvPr>
            <p:ph type="title" hasCustomPrompt="1"/>
          </p:nvPr>
        </p:nvSpPr>
        <p:spPr>
          <a:xfrm>
            <a:off x="228601" y="2095502"/>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019174924"/>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228599" y="6553200"/>
            <a:ext cx="11201401" cy="304801"/>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37055776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6CDEF-BB99-48A7-91D4-37490A74D0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2D22B1-8B81-46D7-907F-0FC95F83532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927F67-A7BF-4E95-B666-8C0C0C6A321A}"/>
              </a:ext>
            </a:extLst>
          </p:cNvPr>
          <p:cNvSpPr>
            <a:spLocks noGrp="1"/>
          </p:cNvSpPr>
          <p:nvPr>
            <p:ph type="dt" sz="half" idx="10"/>
          </p:nvPr>
        </p:nvSpPr>
        <p:spPr/>
        <p:txBody>
          <a:bodyPr/>
          <a:lstStyle/>
          <a:p>
            <a:fld id="{1C02F1BB-CDEB-448D-9766-DB653A8DB86C}" type="datetimeFigureOut">
              <a:rPr lang="en-US" smtClean="0"/>
              <a:t>3/15/22</a:t>
            </a:fld>
            <a:endParaRPr lang="en-US"/>
          </a:p>
        </p:txBody>
      </p:sp>
      <p:sp>
        <p:nvSpPr>
          <p:cNvPr id="5" name="Footer Placeholder 4">
            <a:extLst>
              <a:ext uri="{FF2B5EF4-FFF2-40B4-BE49-F238E27FC236}">
                <a16:creationId xmlns:a16="http://schemas.microsoft.com/office/drawing/2014/main" id="{64E27655-818E-4CEF-AF83-870485FD18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85D0F4-77E0-4966-9E8A-79B2B10813C0}"/>
              </a:ext>
            </a:extLst>
          </p:cNvPr>
          <p:cNvSpPr>
            <a:spLocks noGrp="1"/>
          </p:cNvSpPr>
          <p:nvPr>
            <p:ph type="sldNum" sz="quarter" idx="12"/>
          </p:nvPr>
        </p:nvSpPr>
        <p:spPr/>
        <p:txBody>
          <a:bodyPr/>
          <a:lstStyle/>
          <a:p>
            <a:fld id="{149F0F3A-0D5F-453C-8363-FD5A56109C71}" type="slidenum">
              <a:rPr lang="en-US" smtClean="0"/>
              <a:t>‹#›</a:t>
            </a:fld>
            <a:endParaRPr lang="en-US"/>
          </a:p>
        </p:txBody>
      </p:sp>
    </p:spTree>
    <p:extLst>
      <p:ext uri="{BB962C8B-B14F-4D97-AF65-F5344CB8AC3E}">
        <p14:creationId xmlns:p14="http://schemas.microsoft.com/office/powerpoint/2010/main" val="411301997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855294"/>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D90DC17-6C14-446C-A802-7B1CCDE11226}"/>
              </a:ext>
            </a:extLst>
          </p:cNvPr>
          <p:cNvSpPr/>
          <p:nvPr userDrawn="1"/>
        </p:nvSpPr>
        <p:spPr bwMode="auto">
          <a:xfrm rot="10800000" flipV="1">
            <a:off x="0" y="-11501"/>
            <a:ext cx="12196156" cy="1083258"/>
          </a:xfrm>
          <a:prstGeom prst="rect">
            <a:avLst/>
          </a:pr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ctr" anchorCtr="0" forceAA="0" compatLnSpc="1">
            <a:prstTxWarp prst="textNoShape">
              <a:avLst/>
            </a:prstTxWarp>
            <a:no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87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131888" y="0"/>
            <a:ext cx="7999201" cy="917716"/>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131888" y="1294873"/>
            <a:ext cx="6028967" cy="286232"/>
          </a:xfrm>
        </p:spPr>
        <p:txBody>
          <a:bodyPr rIns="0" bIns="0"/>
          <a:lstStyle>
            <a:lvl1pPr>
              <a:defRPr sz="1400">
                <a:solidFill>
                  <a:schemeClr val="accent3"/>
                </a:solidFill>
              </a:defRPr>
            </a:lvl1pPr>
            <a:lvl2pPr>
              <a:defRPr sz="1200"/>
            </a:lvl2pPr>
            <a:lvl3pPr>
              <a:defRPr sz="1100"/>
            </a:lvl3pPr>
            <a:lvl4pPr>
              <a:defRPr sz="1200">
                <a:solidFill>
                  <a:schemeClr val="accent3"/>
                </a:solidFill>
              </a:defRPr>
            </a:lvl4pPr>
            <a:lvl5pPr>
              <a:defRPr sz="1100"/>
            </a:lvl5pPr>
          </a:lstStyle>
          <a:p>
            <a:pPr lvl="0"/>
            <a:r>
              <a:rPr lang="en-US"/>
              <a:t>Edit Master text styles</a:t>
            </a:r>
          </a:p>
        </p:txBody>
      </p:sp>
      <p:sp>
        <p:nvSpPr>
          <p:cNvPr id="24" name="Content Placeholder 2">
            <a:extLst>
              <a:ext uri="{FF2B5EF4-FFF2-40B4-BE49-F238E27FC236}">
                <a16:creationId xmlns:a16="http://schemas.microsoft.com/office/drawing/2014/main" id="{8341F867-2517-4024-A727-74BEAD59B599}"/>
              </a:ext>
            </a:extLst>
          </p:cNvPr>
          <p:cNvSpPr>
            <a:spLocks noGrp="1"/>
          </p:cNvSpPr>
          <p:nvPr>
            <p:ph idx="10" hasCustomPrompt="1"/>
          </p:nvPr>
        </p:nvSpPr>
        <p:spPr>
          <a:xfrm>
            <a:off x="131888" y="597147"/>
            <a:ext cx="7997610" cy="461665"/>
          </a:xfrm>
        </p:spPr>
        <p:txBody>
          <a:bodyPr/>
          <a:lstStyle>
            <a:lvl1pPr>
              <a:defRPr sz="2000" b="0">
                <a:solidFill>
                  <a:schemeClr val="bg1"/>
                </a:solidFill>
              </a:defRPr>
            </a:lvl1pPr>
            <a:lvl4pPr>
              <a:defRPr>
                <a:solidFill>
                  <a:schemeClr val="accent3"/>
                </a:solidFill>
              </a:defRPr>
            </a:lvl4pPr>
          </a:lstStyle>
          <a:p>
            <a:pPr lvl="0"/>
            <a:r>
              <a:rPr lang="en-US"/>
              <a:t>Edit Master text styles</a:t>
            </a:r>
          </a:p>
        </p:txBody>
      </p:sp>
      <p:sp>
        <p:nvSpPr>
          <p:cNvPr id="28" name="Text Placeholder 27">
            <a:extLst>
              <a:ext uri="{FF2B5EF4-FFF2-40B4-BE49-F238E27FC236}">
                <a16:creationId xmlns:a16="http://schemas.microsoft.com/office/drawing/2014/main" id="{3EDCCAFD-F539-4FB2-8B83-53E493D1CCC7}"/>
              </a:ext>
            </a:extLst>
          </p:cNvPr>
          <p:cNvSpPr>
            <a:spLocks noGrp="1"/>
          </p:cNvSpPr>
          <p:nvPr>
            <p:ph type="body" sz="quarter" idx="11"/>
          </p:nvPr>
        </p:nvSpPr>
        <p:spPr>
          <a:xfrm>
            <a:off x="131888" y="1634853"/>
            <a:ext cx="6030913" cy="566309"/>
          </a:xfrm>
        </p:spPr>
        <p:txBody>
          <a:bodyPr/>
          <a:lstStyle>
            <a:lvl1pPr marL="171450" indent="-171450">
              <a:spcBef>
                <a:spcPts val="0"/>
              </a:spcBef>
              <a:spcAft>
                <a:spcPts val="600"/>
              </a:spcAft>
              <a:buFont typeface="Wingdings" panose="05000000000000000000" pitchFamily="2" charset="2"/>
              <a:buChar char="ü"/>
              <a:defRPr sz="1200" b="0"/>
            </a:lvl1pPr>
            <a:lvl2pPr marL="171450" indent="-171450">
              <a:spcBef>
                <a:spcPts val="0"/>
              </a:spcBef>
              <a:spcAft>
                <a:spcPts val="600"/>
              </a:spcAft>
              <a:buFont typeface="Wingdings" panose="05000000000000000000" pitchFamily="2" charset="2"/>
              <a:buChar char="ü"/>
              <a:defRPr sz="1000"/>
            </a:lvl2pPr>
            <a:lvl3pPr>
              <a:defRPr sz="1000"/>
            </a:lvl3pPr>
            <a:lvl4pPr>
              <a:defRPr sz="1050"/>
            </a:lvl4pPr>
            <a:lvl5pPr>
              <a:defRPr sz="1000"/>
            </a:lvl5pPr>
          </a:lstStyle>
          <a:p>
            <a:pPr lvl="0"/>
            <a:r>
              <a:rPr lang="en-US"/>
              <a:t>Click to edit Master text styles</a:t>
            </a:r>
          </a:p>
          <a:p>
            <a:pPr lvl="1"/>
            <a:r>
              <a:rPr lang="en-US"/>
              <a:t>Second level</a:t>
            </a:r>
          </a:p>
        </p:txBody>
      </p:sp>
      <p:sp>
        <p:nvSpPr>
          <p:cNvPr id="30" name="Picture Placeholder 29">
            <a:extLst>
              <a:ext uri="{FF2B5EF4-FFF2-40B4-BE49-F238E27FC236}">
                <a16:creationId xmlns:a16="http://schemas.microsoft.com/office/drawing/2014/main" id="{0219EDCE-DA84-431C-8A44-5EDCC5959152}"/>
              </a:ext>
            </a:extLst>
          </p:cNvPr>
          <p:cNvSpPr>
            <a:spLocks noGrp="1"/>
          </p:cNvSpPr>
          <p:nvPr>
            <p:ph type="pic" sz="quarter" idx="12"/>
          </p:nvPr>
        </p:nvSpPr>
        <p:spPr>
          <a:xfrm>
            <a:off x="1" y="3025806"/>
            <a:ext cx="6360217" cy="1906537"/>
          </a:xfrm>
        </p:spPr>
        <p:txBody>
          <a:bodyPr/>
          <a:lstStyle/>
          <a:p>
            <a:endParaRPr lang="en-US"/>
          </a:p>
        </p:txBody>
      </p:sp>
      <p:sp>
        <p:nvSpPr>
          <p:cNvPr id="31" name="Content Placeholder 2">
            <a:extLst>
              <a:ext uri="{FF2B5EF4-FFF2-40B4-BE49-F238E27FC236}">
                <a16:creationId xmlns:a16="http://schemas.microsoft.com/office/drawing/2014/main" id="{9165AF91-4BF5-4D0F-A311-88E2D5508405}"/>
              </a:ext>
            </a:extLst>
          </p:cNvPr>
          <p:cNvSpPr>
            <a:spLocks noGrp="1"/>
          </p:cNvSpPr>
          <p:nvPr>
            <p:ph idx="13" hasCustomPrompt="1"/>
          </p:nvPr>
        </p:nvSpPr>
        <p:spPr>
          <a:xfrm>
            <a:off x="131888" y="5090650"/>
            <a:ext cx="6028967" cy="350865"/>
          </a:xfrm>
        </p:spPr>
        <p:txBody>
          <a:bodyPr/>
          <a:lstStyle>
            <a:lvl1pPr algn="ctr">
              <a:defRPr lang="en-US" sz="1200" b="1" i="0" kern="0" cap="all" spc="100" baseline="0" dirty="0" smtClean="0">
                <a:solidFill>
                  <a:schemeClr val="accent3"/>
                </a:solidFill>
                <a:latin typeface="Segoe UI" panose="020B0502040204020203" pitchFamily="34" charset="0"/>
                <a:ea typeface="+mn-ea"/>
                <a:cs typeface="Segoe UI" panose="020B0502040204020203" pitchFamily="34" charset="0"/>
              </a:defRPr>
            </a:lvl1pPr>
            <a:lvl2pPr>
              <a:defRPr sz="1200"/>
            </a:lvl2pPr>
            <a:lvl3pPr>
              <a:defRPr sz="1100"/>
            </a:lvl3pPr>
            <a:lvl4pPr>
              <a:defRPr sz="1200">
                <a:solidFill>
                  <a:schemeClr val="accent3"/>
                </a:solidFill>
              </a:defRPr>
            </a:lvl4pPr>
            <a:lvl5pPr>
              <a:defRPr sz="1100"/>
            </a:lvl5pPr>
          </a:lstStyle>
          <a:p>
            <a:pPr lvl="0"/>
            <a:r>
              <a:rPr lang="en-US"/>
              <a:t>Edit Master text styles</a:t>
            </a:r>
          </a:p>
        </p:txBody>
      </p:sp>
      <p:sp>
        <p:nvSpPr>
          <p:cNvPr id="32" name="Text Placeholder 27">
            <a:extLst>
              <a:ext uri="{FF2B5EF4-FFF2-40B4-BE49-F238E27FC236}">
                <a16:creationId xmlns:a16="http://schemas.microsoft.com/office/drawing/2014/main" id="{597ECE9D-0508-4C98-97AA-B4DDC199966A}"/>
              </a:ext>
            </a:extLst>
          </p:cNvPr>
          <p:cNvSpPr>
            <a:spLocks noGrp="1"/>
          </p:cNvSpPr>
          <p:nvPr>
            <p:ph type="body" sz="quarter" idx="14" hasCustomPrompt="1"/>
          </p:nvPr>
        </p:nvSpPr>
        <p:spPr>
          <a:xfrm>
            <a:off x="134136" y="5996550"/>
            <a:ext cx="1421186" cy="528606"/>
          </a:xfrm>
        </p:spPr>
        <p:txBody>
          <a:bodyPr/>
          <a:lstStyle>
            <a:lvl1pPr algn="ctr">
              <a:defRPr sz="1200" b="1">
                <a:solidFill>
                  <a:schemeClr val="accent3"/>
                </a:solidFill>
              </a:defRPr>
            </a:lvl1pPr>
            <a:lvl2pPr algn="ctr">
              <a:defRPr sz="1050" b="0"/>
            </a:lvl2pPr>
            <a:lvl3pPr>
              <a:defRPr sz="1000"/>
            </a:lvl3pPr>
            <a:lvl4pPr>
              <a:defRPr sz="1050"/>
            </a:lvl4pPr>
            <a:lvl5pPr>
              <a:defRPr sz="1000"/>
            </a:lvl5pPr>
          </a:lstStyle>
          <a:p>
            <a:pPr lvl="0"/>
            <a:r>
              <a:rPr lang="en-US"/>
              <a:t>Click styles</a:t>
            </a:r>
          </a:p>
          <a:p>
            <a:pPr lvl="1"/>
            <a:r>
              <a:rPr lang="en-US"/>
              <a:t>Second level</a:t>
            </a:r>
          </a:p>
        </p:txBody>
      </p:sp>
      <p:sp>
        <p:nvSpPr>
          <p:cNvPr id="33" name="Text Placeholder 27">
            <a:extLst>
              <a:ext uri="{FF2B5EF4-FFF2-40B4-BE49-F238E27FC236}">
                <a16:creationId xmlns:a16="http://schemas.microsoft.com/office/drawing/2014/main" id="{96A203DE-1596-4F7A-8C44-E360A9DEC930}"/>
              </a:ext>
            </a:extLst>
          </p:cNvPr>
          <p:cNvSpPr>
            <a:spLocks noGrp="1"/>
          </p:cNvSpPr>
          <p:nvPr>
            <p:ph type="body" sz="quarter" idx="15" hasCustomPrompt="1"/>
          </p:nvPr>
        </p:nvSpPr>
        <p:spPr>
          <a:xfrm>
            <a:off x="1667007" y="5996550"/>
            <a:ext cx="1421186" cy="528606"/>
          </a:xfrm>
        </p:spPr>
        <p:txBody>
          <a:bodyPr/>
          <a:lstStyle>
            <a:lvl1pPr algn="ctr">
              <a:defRPr sz="1200" b="1">
                <a:solidFill>
                  <a:schemeClr val="accent3"/>
                </a:solidFill>
              </a:defRPr>
            </a:lvl1pPr>
            <a:lvl2pPr algn="ctr">
              <a:defRPr sz="1050" b="0"/>
            </a:lvl2pPr>
            <a:lvl3pPr>
              <a:defRPr sz="1000"/>
            </a:lvl3pPr>
            <a:lvl4pPr>
              <a:defRPr sz="1050"/>
            </a:lvl4pPr>
            <a:lvl5pPr>
              <a:defRPr sz="1000"/>
            </a:lvl5pPr>
          </a:lstStyle>
          <a:p>
            <a:pPr lvl="0"/>
            <a:r>
              <a:rPr lang="en-US"/>
              <a:t>Click styles</a:t>
            </a:r>
          </a:p>
          <a:p>
            <a:pPr lvl="1"/>
            <a:r>
              <a:rPr lang="en-US"/>
              <a:t>Second level</a:t>
            </a:r>
          </a:p>
        </p:txBody>
      </p:sp>
      <p:sp>
        <p:nvSpPr>
          <p:cNvPr id="34" name="Text Placeholder 27">
            <a:extLst>
              <a:ext uri="{FF2B5EF4-FFF2-40B4-BE49-F238E27FC236}">
                <a16:creationId xmlns:a16="http://schemas.microsoft.com/office/drawing/2014/main" id="{13709677-2F0C-4DE3-ADF8-CB2E637DCA6B}"/>
              </a:ext>
            </a:extLst>
          </p:cNvPr>
          <p:cNvSpPr>
            <a:spLocks noGrp="1"/>
          </p:cNvSpPr>
          <p:nvPr>
            <p:ph type="body" sz="quarter" idx="16" hasCustomPrompt="1"/>
          </p:nvPr>
        </p:nvSpPr>
        <p:spPr>
          <a:xfrm>
            <a:off x="3199878" y="5996550"/>
            <a:ext cx="1421186" cy="528606"/>
          </a:xfrm>
        </p:spPr>
        <p:txBody>
          <a:bodyPr/>
          <a:lstStyle>
            <a:lvl1pPr algn="ctr">
              <a:defRPr sz="1200" b="1">
                <a:solidFill>
                  <a:schemeClr val="accent3"/>
                </a:solidFill>
              </a:defRPr>
            </a:lvl1pPr>
            <a:lvl2pPr algn="ctr">
              <a:defRPr sz="1050" b="0"/>
            </a:lvl2pPr>
            <a:lvl3pPr>
              <a:defRPr sz="1000"/>
            </a:lvl3pPr>
            <a:lvl4pPr>
              <a:defRPr sz="1050"/>
            </a:lvl4pPr>
            <a:lvl5pPr>
              <a:defRPr sz="1000"/>
            </a:lvl5pPr>
          </a:lstStyle>
          <a:p>
            <a:pPr lvl="0"/>
            <a:r>
              <a:rPr lang="en-US"/>
              <a:t>Click styles</a:t>
            </a:r>
          </a:p>
          <a:p>
            <a:pPr lvl="1"/>
            <a:r>
              <a:rPr lang="en-US"/>
              <a:t>Second level</a:t>
            </a:r>
          </a:p>
        </p:txBody>
      </p:sp>
      <p:sp>
        <p:nvSpPr>
          <p:cNvPr id="35" name="Text Placeholder 27">
            <a:extLst>
              <a:ext uri="{FF2B5EF4-FFF2-40B4-BE49-F238E27FC236}">
                <a16:creationId xmlns:a16="http://schemas.microsoft.com/office/drawing/2014/main" id="{47DE20D5-78C0-4C2C-A7B1-5CA87F1479BD}"/>
              </a:ext>
            </a:extLst>
          </p:cNvPr>
          <p:cNvSpPr>
            <a:spLocks noGrp="1"/>
          </p:cNvSpPr>
          <p:nvPr>
            <p:ph type="body" sz="quarter" idx="17" hasCustomPrompt="1"/>
          </p:nvPr>
        </p:nvSpPr>
        <p:spPr>
          <a:xfrm>
            <a:off x="4732750" y="5996550"/>
            <a:ext cx="1421186" cy="528606"/>
          </a:xfrm>
        </p:spPr>
        <p:txBody>
          <a:bodyPr/>
          <a:lstStyle>
            <a:lvl1pPr algn="ctr">
              <a:defRPr sz="1200" b="1">
                <a:solidFill>
                  <a:schemeClr val="accent3"/>
                </a:solidFill>
              </a:defRPr>
            </a:lvl1pPr>
            <a:lvl2pPr algn="ctr">
              <a:defRPr sz="1050" b="0"/>
            </a:lvl2pPr>
            <a:lvl3pPr>
              <a:defRPr sz="1000"/>
            </a:lvl3pPr>
            <a:lvl4pPr>
              <a:defRPr sz="1050"/>
            </a:lvl4pPr>
            <a:lvl5pPr>
              <a:defRPr sz="1000"/>
            </a:lvl5pPr>
          </a:lstStyle>
          <a:p>
            <a:pPr lvl="0"/>
            <a:r>
              <a:rPr lang="en-US"/>
              <a:t>Click styles</a:t>
            </a:r>
          </a:p>
          <a:p>
            <a:pPr lvl="1"/>
            <a:r>
              <a:rPr lang="en-US"/>
              <a:t>Second level</a:t>
            </a:r>
          </a:p>
        </p:txBody>
      </p:sp>
      <p:sp>
        <p:nvSpPr>
          <p:cNvPr id="36" name="Content Placeholder 2">
            <a:extLst>
              <a:ext uri="{FF2B5EF4-FFF2-40B4-BE49-F238E27FC236}">
                <a16:creationId xmlns:a16="http://schemas.microsoft.com/office/drawing/2014/main" id="{5A94B259-FE7D-41B2-AEA8-AC41B2C5F582}"/>
              </a:ext>
            </a:extLst>
          </p:cNvPr>
          <p:cNvSpPr>
            <a:spLocks noGrp="1"/>
          </p:cNvSpPr>
          <p:nvPr>
            <p:ph idx="18" hasCustomPrompt="1"/>
          </p:nvPr>
        </p:nvSpPr>
        <p:spPr>
          <a:xfrm>
            <a:off x="6472721" y="1294873"/>
            <a:ext cx="5458827" cy="286232"/>
          </a:xfrm>
        </p:spPr>
        <p:txBody>
          <a:bodyPr rIns="0" bIns="0"/>
          <a:lstStyle>
            <a:lvl1pPr>
              <a:defRPr sz="1400"/>
            </a:lvl1pPr>
            <a:lvl2pPr>
              <a:defRPr sz="1200"/>
            </a:lvl2pPr>
            <a:lvl3pPr>
              <a:defRPr sz="1100"/>
            </a:lvl3pPr>
            <a:lvl4pPr>
              <a:defRPr sz="1200">
                <a:solidFill>
                  <a:schemeClr val="accent3"/>
                </a:solidFill>
              </a:defRPr>
            </a:lvl4pPr>
            <a:lvl5pPr>
              <a:defRPr sz="1100"/>
            </a:lvl5pPr>
          </a:lstStyle>
          <a:p>
            <a:pPr lvl="0"/>
            <a:r>
              <a:rPr lang="en-US"/>
              <a:t>Edit Master text styles</a:t>
            </a:r>
          </a:p>
        </p:txBody>
      </p:sp>
      <p:sp>
        <p:nvSpPr>
          <p:cNvPr id="37" name="Text Placeholder 27">
            <a:extLst>
              <a:ext uri="{FF2B5EF4-FFF2-40B4-BE49-F238E27FC236}">
                <a16:creationId xmlns:a16="http://schemas.microsoft.com/office/drawing/2014/main" id="{608B0628-875D-4C18-B965-423F00282CDA}"/>
              </a:ext>
            </a:extLst>
          </p:cNvPr>
          <p:cNvSpPr>
            <a:spLocks noGrp="1"/>
          </p:cNvSpPr>
          <p:nvPr>
            <p:ph type="body" sz="quarter" idx="19" hasCustomPrompt="1"/>
          </p:nvPr>
        </p:nvSpPr>
        <p:spPr>
          <a:xfrm>
            <a:off x="6484809" y="1664092"/>
            <a:ext cx="2427878" cy="537070"/>
          </a:xfrm>
        </p:spPr>
        <p:txBody>
          <a:bodyPr rIns="0"/>
          <a:lstStyle>
            <a:lvl1pPr algn="l">
              <a:defRPr sz="1200" b="1" kern="0" cap="all" spc="100" baseline="0">
                <a:solidFill>
                  <a:schemeClr val="accent3"/>
                </a:solidFill>
              </a:defRPr>
            </a:lvl1pPr>
            <a:lvl2pPr algn="just">
              <a:defRPr sz="1100" b="0"/>
            </a:lvl2pPr>
            <a:lvl3pPr>
              <a:defRPr sz="1000"/>
            </a:lvl3pPr>
            <a:lvl4pPr>
              <a:defRPr sz="1050"/>
            </a:lvl4pPr>
            <a:lvl5pPr>
              <a:defRPr sz="1000"/>
            </a:lvl5pPr>
          </a:lstStyle>
          <a:p>
            <a:pPr lvl="0"/>
            <a:r>
              <a:rPr lang="en-US"/>
              <a:t>Click styles</a:t>
            </a:r>
          </a:p>
          <a:p>
            <a:pPr lvl="1"/>
            <a:r>
              <a:rPr lang="en-US"/>
              <a:t>Second level</a:t>
            </a:r>
          </a:p>
        </p:txBody>
      </p:sp>
      <p:sp>
        <p:nvSpPr>
          <p:cNvPr id="38" name="Text Placeholder 27">
            <a:extLst>
              <a:ext uri="{FF2B5EF4-FFF2-40B4-BE49-F238E27FC236}">
                <a16:creationId xmlns:a16="http://schemas.microsoft.com/office/drawing/2014/main" id="{673EF468-783A-4C6F-A148-80A8156BDACA}"/>
              </a:ext>
            </a:extLst>
          </p:cNvPr>
          <p:cNvSpPr>
            <a:spLocks noGrp="1"/>
          </p:cNvSpPr>
          <p:nvPr>
            <p:ph type="body" sz="quarter" idx="20" hasCustomPrompt="1"/>
          </p:nvPr>
        </p:nvSpPr>
        <p:spPr>
          <a:xfrm>
            <a:off x="9306922" y="1664092"/>
            <a:ext cx="2427878" cy="537070"/>
          </a:xfrm>
        </p:spPr>
        <p:txBody>
          <a:bodyPr rIns="0"/>
          <a:lstStyle>
            <a:lvl1pPr algn="l">
              <a:defRPr lang="en-US" sz="1200" b="1" i="0" kern="0" cap="all" spc="100" baseline="0" dirty="0" smtClean="0">
                <a:solidFill>
                  <a:schemeClr val="accent3"/>
                </a:solidFill>
                <a:latin typeface="Segoe UI" panose="020B0502040204020203" pitchFamily="34" charset="0"/>
                <a:ea typeface="+mn-ea"/>
                <a:cs typeface="Segoe UI" panose="020B0502040204020203" pitchFamily="34" charset="0"/>
              </a:defRPr>
            </a:lvl1pPr>
            <a:lvl2pPr algn="just">
              <a:defRPr lang="en-US" sz="1100" b="0" i="0" kern="1200" spc="0" baseline="0" dirty="0">
                <a:solidFill>
                  <a:schemeClr val="accent4"/>
                </a:solidFill>
                <a:latin typeface="Segoe UI" panose="020B0502040204020203" pitchFamily="34" charset="0"/>
                <a:ea typeface="+mn-ea"/>
                <a:cs typeface="Segoe UI" panose="020B0502040204020203" pitchFamily="34" charset="0"/>
              </a:defRPr>
            </a:lvl2pPr>
            <a:lvl3pPr>
              <a:defRPr sz="1000"/>
            </a:lvl3pPr>
            <a:lvl4pPr>
              <a:defRPr sz="1050"/>
            </a:lvl4pPr>
            <a:lvl5pPr>
              <a:defRPr sz="1000"/>
            </a:lvl5pPr>
          </a:lstStyle>
          <a:p>
            <a:pPr marL="0" marR="0" lvl="0" indent="0" algn="l" defTabSz="914321" rtl="0" eaLnBrk="1" fontAlgn="auto" latinLnBrk="0" hangingPunct="1">
              <a:lnSpc>
                <a:spcPct val="90000"/>
              </a:lnSpc>
              <a:spcBef>
                <a:spcPts val="1800"/>
              </a:spcBef>
              <a:spcAft>
                <a:spcPts val="0"/>
              </a:spcAft>
              <a:buClrTx/>
              <a:buSzPct val="90000"/>
              <a:buFont typeface="Arial" pitchFamily="34" charset="0"/>
              <a:buNone/>
              <a:tabLst/>
            </a:pPr>
            <a:r>
              <a:rPr lang="en-US"/>
              <a:t>Click styles</a:t>
            </a:r>
          </a:p>
          <a:p>
            <a:pPr marL="0" marR="0" lvl="1" indent="0" algn="just" defTabSz="914321" rtl="0" eaLnBrk="1" fontAlgn="auto" latinLnBrk="0" hangingPunct="1">
              <a:lnSpc>
                <a:spcPct val="90000"/>
              </a:lnSpc>
              <a:spcBef>
                <a:spcPct val="20000"/>
              </a:spcBef>
              <a:spcAft>
                <a:spcPts val="600"/>
              </a:spcAft>
              <a:buClrTx/>
              <a:buSzPct val="90000"/>
              <a:buFont typeface="Arial" pitchFamily="34" charset="0"/>
              <a:buNone/>
              <a:tabLst/>
            </a:pPr>
            <a:r>
              <a:rPr lang="en-US"/>
              <a:t>Second level</a:t>
            </a:r>
          </a:p>
        </p:txBody>
      </p:sp>
      <p:sp>
        <p:nvSpPr>
          <p:cNvPr id="39" name="Text Placeholder 27">
            <a:extLst>
              <a:ext uri="{FF2B5EF4-FFF2-40B4-BE49-F238E27FC236}">
                <a16:creationId xmlns:a16="http://schemas.microsoft.com/office/drawing/2014/main" id="{6922BB64-BEBB-4F45-984E-84F61B6D1104}"/>
              </a:ext>
            </a:extLst>
          </p:cNvPr>
          <p:cNvSpPr>
            <a:spLocks noGrp="1"/>
          </p:cNvSpPr>
          <p:nvPr>
            <p:ph type="body" sz="quarter" idx="21" hasCustomPrompt="1"/>
          </p:nvPr>
        </p:nvSpPr>
        <p:spPr>
          <a:xfrm>
            <a:off x="8424799" y="215893"/>
            <a:ext cx="3524104" cy="587853"/>
          </a:xfrm>
        </p:spPr>
        <p:txBody>
          <a:bodyPr/>
          <a:lstStyle>
            <a:lvl1pPr algn="r">
              <a:defRPr sz="1200" b="0">
                <a:solidFill>
                  <a:schemeClr val="bg1"/>
                </a:solidFill>
              </a:defRPr>
            </a:lvl1pPr>
            <a:lvl2pPr algn="r">
              <a:defRPr sz="1400" b="1">
                <a:solidFill>
                  <a:schemeClr val="bg1"/>
                </a:solidFill>
              </a:defRPr>
            </a:lvl2pPr>
            <a:lvl3pPr>
              <a:defRPr sz="1000"/>
            </a:lvl3pPr>
            <a:lvl4pPr>
              <a:defRPr sz="1050"/>
            </a:lvl4pPr>
            <a:lvl5pPr>
              <a:defRPr sz="1000"/>
            </a:lvl5pPr>
          </a:lstStyle>
          <a:p>
            <a:pPr lvl="0"/>
            <a:r>
              <a:rPr lang="en-US"/>
              <a:t>Click styles</a:t>
            </a:r>
          </a:p>
          <a:p>
            <a:pPr lvl="1"/>
            <a:r>
              <a:rPr lang="en-US"/>
              <a:t>Second level</a:t>
            </a:r>
          </a:p>
        </p:txBody>
      </p:sp>
      <p:sp>
        <p:nvSpPr>
          <p:cNvPr id="40" name="Content Placeholder 2">
            <a:extLst>
              <a:ext uri="{FF2B5EF4-FFF2-40B4-BE49-F238E27FC236}">
                <a16:creationId xmlns:a16="http://schemas.microsoft.com/office/drawing/2014/main" id="{18661A6E-425A-4CE3-B10F-836919E17812}"/>
              </a:ext>
            </a:extLst>
          </p:cNvPr>
          <p:cNvSpPr>
            <a:spLocks noGrp="1"/>
          </p:cNvSpPr>
          <p:nvPr>
            <p:ph idx="22" hasCustomPrompt="1"/>
          </p:nvPr>
        </p:nvSpPr>
        <p:spPr>
          <a:xfrm>
            <a:off x="131888" y="1064615"/>
            <a:ext cx="6028967" cy="258532"/>
          </a:xfrm>
        </p:spPr>
        <p:txBody>
          <a:bodyPr rIns="0" bIns="0"/>
          <a:lstStyle>
            <a:lvl1pPr>
              <a:defRPr sz="1200" b="0">
                <a:latin typeface="+mj-lt"/>
              </a:defRPr>
            </a:lvl1pPr>
            <a:lvl2pPr>
              <a:defRPr sz="1200"/>
            </a:lvl2pPr>
            <a:lvl3pPr>
              <a:defRPr sz="1100"/>
            </a:lvl3pPr>
            <a:lvl4pPr>
              <a:defRPr sz="1200">
                <a:solidFill>
                  <a:schemeClr val="accent3"/>
                </a:solidFill>
              </a:defRPr>
            </a:lvl4pPr>
            <a:lvl5pPr>
              <a:defRPr sz="1100"/>
            </a:lvl5pPr>
          </a:lstStyle>
          <a:p>
            <a:pPr lvl="0"/>
            <a:r>
              <a:rPr lang="en-US"/>
              <a:t>Edit Master text styles</a:t>
            </a:r>
          </a:p>
        </p:txBody>
      </p:sp>
    </p:spTree>
    <p:extLst>
      <p:ext uri="{BB962C8B-B14F-4D97-AF65-F5344CB8AC3E}">
        <p14:creationId xmlns:p14="http://schemas.microsoft.com/office/powerpoint/2010/main" val="37076223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083351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5134511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2084173"/>
            <a:ext cx="11653523" cy="1490739"/>
          </a:xfrm>
        </p:spPr>
        <p:txBody>
          <a:bodyPr/>
          <a:lstStyle>
            <a:lvl1pPr marL="0" indent="0">
              <a:buNone/>
              <a:defRPr sz="2745">
                <a:gradFill>
                  <a:gsLst>
                    <a:gs pos="1250">
                      <a:schemeClr val="tx1"/>
                    </a:gs>
                    <a:gs pos="99000">
                      <a:schemeClr val="tx1"/>
                    </a:gs>
                  </a:gsLst>
                  <a:lin ang="5400000" scaled="0"/>
                </a:gradFill>
              </a:defRPr>
            </a:lvl1pPr>
            <a:lvl2pPr marL="0" indent="0">
              <a:buFontTx/>
              <a:buNone/>
              <a:defRPr sz="1765"/>
            </a:lvl2pPr>
            <a:lvl3pPr marL="224097" indent="0">
              <a:buNone/>
              <a:defRPr sz="1372"/>
            </a:lvl3pPr>
            <a:lvl4pPr marL="448193" indent="0">
              <a:buNone/>
              <a:defRPr sz="1176"/>
            </a:lvl4pPr>
            <a:lvl5pPr marL="672290" indent="0">
              <a:buNone/>
              <a:defRPr sz="117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633625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31166-8FC2-4050-89C2-C411924B68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5C177BF-E40B-43F4-A25D-F8B6E4A161D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011040-31D9-48F7-9FF2-0988779BF3A5}"/>
              </a:ext>
            </a:extLst>
          </p:cNvPr>
          <p:cNvSpPr>
            <a:spLocks noGrp="1"/>
          </p:cNvSpPr>
          <p:nvPr>
            <p:ph type="dt" sz="half" idx="10"/>
          </p:nvPr>
        </p:nvSpPr>
        <p:spPr/>
        <p:txBody>
          <a:bodyPr/>
          <a:lstStyle/>
          <a:p>
            <a:fld id="{E53CD319-0215-462E-8373-ACD325408791}" type="datetimeFigureOut">
              <a:rPr lang="en-US" smtClean="0"/>
              <a:t>3/15/22</a:t>
            </a:fld>
            <a:endParaRPr lang="en-US"/>
          </a:p>
        </p:txBody>
      </p:sp>
      <p:sp>
        <p:nvSpPr>
          <p:cNvPr id="5" name="Footer Placeholder 4">
            <a:extLst>
              <a:ext uri="{FF2B5EF4-FFF2-40B4-BE49-F238E27FC236}">
                <a16:creationId xmlns:a16="http://schemas.microsoft.com/office/drawing/2014/main" id="{8B8EA561-1F10-43D4-902F-75C8C1AFE5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92B75B-6510-4DD0-8210-AA755369F9CC}"/>
              </a:ext>
            </a:extLst>
          </p:cNvPr>
          <p:cNvSpPr>
            <a:spLocks noGrp="1"/>
          </p:cNvSpPr>
          <p:nvPr>
            <p:ph type="sldNum" sz="quarter" idx="12"/>
          </p:nvPr>
        </p:nvSpPr>
        <p:spPr/>
        <p:txBody>
          <a:bodyPr/>
          <a:lstStyle/>
          <a:p>
            <a:fld id="{04036969-A006-4B26-8CFB-BA2B8D150AA4}" type="slidenum">
              <a:rPr lang="en-US" smtClean="0"/>
              <a:t>‹#›</a:t>
            </a:fld>
            <a:endParaRPr lang="en-US"/>
          </a:p>
        </p:txBody>
      </p:sp>
    </p:spTree>
    <p:extLst>
      <p:ext uri="{BB962C8B-B14F-4D97-AF65-F5344CB8AC3E}">
        <p14:creationId xmlns:p14="http://schemas.microsoft.com/office/powerpoint/2010/main" val="261109795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5632953"/>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4" y="1187645"/>
            <a:ext cx="11655078" cy="16020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649740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4" cy="1871282"/>
          </a:xfrm>
        </p:spPr>
        <p:txBody>
          <a:bodyPr>
            <a:spAutoFit/>
          </a:bodyPr>
          <a:lstStyle>
            <a:lvl1pPr>
              <a:buClr>
                <a:schemeClr val="tx2"/>
              </a:buClr>
              <a:defRPr>
                <a:solidFill>
                  <a:srgbClr val="008272"/>
                </a:soli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3362894"/>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92443"/>
          </a:xfrm>
        </p:spPr>
        <p:txBody>
          <a:bodyPr/>
          <a:lstStyle>
            <a:lvl1pPr>
              <a:defRPr sz="3200">
                <a:solidFill>
                  <a:srgbClr val="000000"/>
                </a:solidFill>
              </a:defRPr>
            </a:lvl1pPr>
          </a:lstStyle>
          <a:p>
            <a:r>
              <a:rPr lang="en-US"/>
              <a:t>Click to edit Master title style</a:t>
            </a:r>
          </a:p>
        </p:txBody>
      </p:sp>
      <p:sp>
        <p:nvSpPr>
          <p:cNvPr id="2" name="Footer Placeholder 1">
            <a:extLst>
              <a:ext uri="{FF2B5EF4-FFF2-40B4-BE49-F238E27FC236}">
                <a16:creationId xmlns:a16="http://schemas.microsoft.com/office/drawing/2014/main" id="{E3C38696-B7A4-494C-891F-D5957A8EBD90}"/>
              </a:ext>
            </a:extLst>
          </p:cNvPr>
          <p:cNvSpPr>
            <a:spLocks noGrp="1"/>
          </p:cNvSpPr>
          <p:nvPr>
            <p:ph type="ftr" sz="quarter" idx="10"/>
          </p:nvPr>
        </p:nvSpPr>
        <p:spPr>
          <a:xfrm>
            <a:off x="498475" y="6565391"/>
            <a:ext cx="2451100" cy="246221"/>
          </a:xfrm>
        </p:spPr>
        <p:txBody>
          <a:bodyPr/>
          <a:lstStyle/>
          <a:p>
            <a:r>
              <a:rPr lang="en-IN"/>
              <a:t>Microsoft Confidential—Internal Only</a:t>
            </a:r>
          </a:p>
        </p:txBody>
      </p:sp>
      <p:sp>
        <p:nvSpPr>
          <p:cNvPr id="5" name="Slide Number Placeholder 4">
            <a:extLst>
              <a:ext uri="{FF2B5EF4-FFF2-40B4-BE49-F238E27FC236}">
                <a16:creationId xmlns:a16="http://schemas.microsoft.com/office/drawing/2014/main" id="{71CAFBF2-3DF0-49FD-BA68-218F3F57DBC5}"/>
              </a:ext>
            </a:extLst>
          </p:cNvPr>
          <p:cNvSpPr>
            <a:spLocks noGrp="1"/>
          </p:cNvSpPr>
          <p:nvPr>
            <p:ph type="sldNum" sz="quarter" idx="11"/>
          </p:nvPr>
        </p:nvSpPr>
        <p:spPr>
          <a:xfrm>
            <a:off x="11681492" y="6565391"/>
            <a:ext cx="459708" cy="246221"/>
          </a:xfrm>
          <a:prstGeom prst="rect">
            <a:avLst/>
          </a:prstGeom>
        </p:spPr>
        <p:txBody>
          <a:bodyPr/>
          <a:lstStyle/>
          <a:p>
            <a:fld id="{EAA0DCFB-5E65-472C-A423-BA3AA87976EA}" type="slidenum">
              <a:rPr lang="en-IN" smtClean="0"/>
              <a:pPr/>
              <a:t>‹#›</a:t>
            </a:fld>
            <a:endParaRPr lang="en-IN"/>
          </a:p>
        </p:txBody>
      </p:sp>
    </p:spTree>
    <p:extLst>
      <p:ext uri="{BB962C8B-B14F-4D97-AF65-F5344CB8AC3E}">
        <p14:creationId xmlns:p14="http://schemas.microsoft.com/office/powerpoint/2010/main" val="35509932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624184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2896438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822586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97925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97670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49155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1881809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187304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18975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03505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03038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8256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07899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90017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902383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7601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83024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8465842"/>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9838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304873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51683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93694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92904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441396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820006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32041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8860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46781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4065964"/>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001664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618374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6660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20947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1728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9783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94867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0835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762545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0646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410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5680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44327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20518235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21938075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0168488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36674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299285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83357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userDrawn="1">
          <p15:clr>
            <a:srgbClr val="5ACBF0"/>
          </p15:clr>
        </p15:guide>
        <p15:guide id="30" pos="2376">
          <p15:clr>
            <a:srgbClr val="5ACBF0"/>
          </p15:clr>
        </p15:guide>
        <p15:guide id="31" pos="3113">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497112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262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29531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468179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0722297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35549274"/>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84096263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34606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86672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88857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834564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6099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939329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845153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5411038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67870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89057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65750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534842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3616603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295614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0718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32077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6100177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40131420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28491510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72970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85888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396491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1571751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32672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37068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27896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024648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2070685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1975590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239914672"/>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83335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2964619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4037226676"/>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485633092"/>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507193577"/>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40177148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93103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52011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9531012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3684341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4317885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390067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642109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24618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715416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3848107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188897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0728438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16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5634256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549521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6479942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4989236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096048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8893981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48797905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7560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107770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6929786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4849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418879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370693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1266015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884823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1193181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16996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0997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31933337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67538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2007038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Acc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82914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Full square photo">
    <p:bg>
      <p:bgPr>
        <a:solidFill>
          <a:schemeClr val="accent4"/>
        </a:solidFill>
        <a:effectLst/>
      </p:bgPr>
    </p:bg>
    <p:spTree>
      <p:nvGrpSpPr>
        <p:cNvPr id="1" name=""/>
        <p:cNvGrpSpPr/>
        <p:nvPr/>
      </p:nvGrpSpPr>
      <p:grpSpPr>
        <a:xfrm>
          <a:off x="0" y="0"/>
          <a:ext cx="0" cy="0"/>
          <a:chOff x="0" y="0"/>
          <a:chExt cx="0" cy="0"/>
        </a:xfrm>
      </p:grpSpPr>
      <p:pic>
        <p:nvPicPr>
          <p:cNvPr id="6" name="Picture 2" descr="Woman with disability working : Stock Photo">
            <a:extLst>
              <a:ext uri="{FF2B5EF4-FFF2-40B4-BE49-F238E27FC236}">
                <a16:creationId xmlns:a16="http://schemas.microsoft.com/office/drawing/2014/main" id="{C55103ED-4AD2-4DEF-A97C-F39DC16A1998}"/>
              </a:ext>
            </a:extLst>
          </p:cNvPr>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5326063" y="0"/>
            <a:ext cx="6865937" cy="6858000"/>
          </a:xfrm>
          <a:prstGeom prst="rect">
            <a:avLst/>
          </a:prstGeom>
          <a:extLst>
            <a:ext uri="{909E8E84-426E-40DD-AFC4-6F175D3DCCD1}">
              <a14:hiddenFill xmlns:a14="http://schemas.microsoft.com/office/drawing/2010/main">
                <a:solidFill>
                  <a:srgbClr val="FFFFFF"/>
                </a:solidFill>
              </a14:hiddenFill>
            </a:ext>
          </a:extLst>
        </p:spPr>
      </p:pic>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58362" cy="1107996"/>
          </a:xfrm>
        </p:spPr>
        <p:txBody>
          <a:bodyPr wrap="square"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2989163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58362" cy="1107996"/>
          </a:xfrm>
        </p:spPr>
        <p:txBody>
          <a:bodyPr wrap="square"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4" name="Picture 3" descr="Mother with child captioned Neuron Mirror Connection">
            <a:extLst>
              <a:ext uri="{FF2B5EF4-FFF2-40B4-BE49-F238E27FC236}">
                <a16:creationId xmlns:a16="http://schemas.microsoft.com/office/drawing/2014/main" id="{069AF830-BDC8-4886-8532-83C1E9FBA329}"/>
              </a:ext>
            </a:extLst>
          </p:cNvPr>
          <p:cNvPicPr>
            <a:picLocks noChangeAspect="1"/>
          </p:cNvPicPr>
          <p:nvPr userDrawn="1"/>
        </p:nvPicPr>
        <p:blipFill rotWithShape="1">
          <a:blip r:embed="rId3">
            <a:extLst>
              <a:ext uri="{28A0092B-C50C-407E-A947-70E740481C1C}">
                <a14:useLocalDpi xmlns:a14="http://schemas.microsoft.com/office/drawing/2010/main"/>
              </a:ext>
            </a:extLst>
          </a:blip>
          <a:srcRect b="-12447"/>
          <a:stretch/>
        </p:blipFill>
        <p:spPr>
          <a:xfrm>
            <a:off x="5326062" y="-6208"/>
            <a:ext cx="6867144" cy="3862769"/>
          </a:xfrm>
          <a:prstGeom prst="rect">
            <a:avLst/>
          </a:prstGeom>
        </p:spPr>
      </p:pic>
      <p:pic>
        <p:nvPicPr>
          <p:cNvPr id="9" name="Picture 8" descr="Young girl with tablet">
            <a:extLst>
              <a:ext uri="{FF2B5EF4-FFF2-40B4-BE49-F238E27FC236}">
                <a16:creationId xmlns:a16="http://schemas.microsoft.com/office/drawing/2014/main" id="{DBE053CB-0F15-42C4-B36B-AD197A96ACCE}"/>
              </a:ext>
            </a:extLst>
          </p:cNvPr>
          <p:cNvPicPr>
            <a:picLocks noChangeAspect="1"/>
          </p:cNvPicPr>
          <p:nvPr userDrawn="1"/>
        </p:nvPicPr>
        <p:blipFill rotWithShape="1">
          <a:blip r:embed="rId4">
            <a:extLst>
              <a:ext uri="{28A0092B-C50C-407E-A947-70E740481C1C}">
                <a14:useLocalDpi xmlns:a14="http://schemas.microsoft.com/office/drawing/2010/main"/>
              </a:ext>
            </a:extLst>
          </a:blip>
          <a:srcRect l="-1"/>
          <a:stretch/>
        </p:blipFill>
        <p:spPr>
          <a:xfrm>
            <a:off x="5326062" y="3429000"/>
            <a:ext cx="6865937" cy="3428999"/>
          </a:xfrm>
          <a:prstGeom prst="rect">
            <a:avLst/>
          </a:prstGeom>
        </p:spPr>
      </p:pic>
    </p:spTree>
    <p:extLst>
      <p:ext uri="{BB962C8B-B14F-4D97-AF65-F5344CB8AC3E}">
        <p14:creationId xmlns:p14="http://schemas.microsoft.com/office/powerpoint/2010/main" val="4073709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1120811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611236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695256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928479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69924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062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747728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42062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26527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181314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616238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192926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68531778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76459227"/>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6102776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5888208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3092705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9882533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2327602039"/>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4136891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318245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88013565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68093880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3134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6870606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10210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686278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1305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2249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3789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69212997"/>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324394"/>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2223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6472606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3280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141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609825584"/>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884282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grpSp>
        <p:nvGrpSpPr>
          <p:cNvPr id="6" name="Group 5">
            <a:extLst>
              <a:ext uri="{FF2B5EF4-FFF2-40B4-BE49-F238E27FC236}">
                <a16:creationId xmlns:a16="http://schemas.microsoft.com/office/drawing/2014/main" id="{603BCD3B-E7FA-4EDC-9336-77CB6D4134C8}"/>
              </a:ext>
            </a:extLst>
          </p:cNvPr>
          <p:cNvGrpSpPr/>
          <p:nvPr/>
        </p:nvGrpSpPr>
        <p:grpSpPr>
          <a:xfrm>
            <a:off x="9017676" y="4398419"/>
            <a:ext cx="2930928" cy="1890660"/>
            <a:chOff x="9276225" y="4135719"/>
            <a:chExt cx="2505360" cy="1523170"/>
          </a:xfrm>
        </p:grpSpPr>
        <p:pic>
          <p:nvPicPr>
            <p:cNvPr id="8" name="Picture 7" descr="Abstract blurred public library with bookshelves">
              <a:extLst>
                <a:ext uri="{FF2B5EF4-FFF2-40B4-BE49-F238E27FC236}">
                  <a16:creationId xmlns:a16="http://schemas.microsoft.com/office/drawing/2014/main" id="{FB43671A-2817-49D7-B0CA-67321E723FFE}"/>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tretch>
              <a:fillRect/>
            </a:stretch>
          </p:blipFill>
          <p:spPr>
            <a:xfrm>
              <a:off x="9499615" y="4135719"/>
              <a:ext cx="2281970" cy="1523170"/>
            </a:xfrm>
            <a:prstGeom prst="rect">
              <a:avLst/>
            </a:prstGeom>
          </p:spPr>
        </p:pic>
        <p:sp>
          <p:nvSpPr>
            <p:cNvPr id="9" name="Freeform: Shape 8">
              <a:extLst>
                <a:ext uri="{FF2B5EF4-FFF2-40B4-BE49-F238E27FC236}">
                  <a16:creationId xmlns:a16="http://schemas.microsoft.com/office/drawing/2014/main" id="{ECB143D6-166D-402C-A78D-D0A33E79C6CB}"/>
                </a:ext>
              </a:extLst>
            </p:cNvPr>
            <p:cNvSpPr/>
            <p:nvPr/>
          </p:nvSpPr>
          <p:spPr>
            <a:xfrm>
              <a:off x="9276225" y="5190210"/>
              <a:ext cx="1318311" cy="375321"/>
            </a:xfrm>
            <a:custGeom>
              <a:avLst/>
              <a:gdLst>
                <a:gd name="connsiteX0" fmla="*/ 0 w 859921"/>
                <a:gd name="connsiteY0" fmla="*/ 0 h 486232"/>
                <a:gd name="connsiteX1" fmla="*/ 859921 w 859921"/>
                <a:gd name="connsiteY1" fmla="*/ 0 h 486232"/>
                <a:gd name="connsiteX2" fmla="*/ 859921 w 859921"/>
                <a:gd name="connsiteY2" fmla="*/ 486232 h 486232"/>
                <a:gd name="connsiteX3" fmla="*/ 0 w 859921"/>
                <a:gd name="connsiteY3" fmla="*/ 486232 h 486232"/>
                <a:gd name="connsiteX4" fmla="*/ 0 w 859921"/>
                <a:gd name="connsiteY4" fmla="*/ 0 h 48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921" h="486232">
                  <a:moveTo>
                    <a:pt x="0" y="0"/>
                  </a:moveTo>
                  <a:lnTo>
                    <a:pt x="859921" y="0"/>
                  </a:lnTo>
                  <a:lnTo>
                    <a:pt x="859921" y="486232"/>
                  </a:lnTo>
                  <a:lnTo>
                    <a:pt x="0" y="486232"/>
                  </a:lnTo>
                  <a:lnTo>
                    <a:pt x="0" y="0"/>
                  </a:lnTo>
                  <a:close/>
                </a:path>
              </a:pathLst>
            </a:custGeom>
            <a:noFill/>
            <a:ln>
              <a:noFill/>
            </a:ln>
            <a:sp3d/>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8575" tIns="9525" rIns="28575" bIns="0" numCol="1" spcCol="1270" anchor="b" anchorCtr="0">
              <a:noAutofit/>
            </a:bodyPr>
            <a:lstStyle/>
            <a:p>
              <a:pPr marL="0" marR="0" lvl="0" indent="0" algn="r"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Conformance</a:t>
              </a:r>
            </a:p>
          </p:txBody>
        </p:sp>
      </p:grpSp>
      <p:grpSp>
        <p:nvGrpSpPr>
          <p:cNvPr id="10" name="Group 9">
            <a:extLst>
              <a:ext uri="{FF2B5EF4-FFF2-40B4-BE49-F238E27FC236}">
                <a16:creationId xmlns:a16="http://schemas.microsoft.com/office/drawing/2014/main" id="{3FE0265A-E6F2-42E5-B8AE-EF80AF5148A2}"/>
              </a:ext>
            </a:extLst>
          </p:cNvPr>
          <p:cNvGrpSpPr/>
          <p:nvPr/>
        </p:nvGrpSpPr>
        <p:grpSpPr>
          <a:xfrm>
            <a:off x="4816458" y="2349053"/>
            <a:ext cx="2527599" cy="2471082"/>
            <a:chOff x="9426074" y="4779447"/>
            <a:chExt cx="1907462" cy="1850974"/>
          </a:xfrm>
        </p:grpSpPr>
        <p:sp>
          <p:nvSpPr>
            <p:cNvPr id="11" name="Rectangle 10">
              <a:extLst>
                <a:ext uri="{FF2B5EF4-FFF2-40B4-BE49-F238E27FC236}">
                  <a16:creationId xmlns:a16="http://schemas.microsoft.com/office/drawing/2014/main" id="{5CD640CF-5DB6-4CBB-9B08-C6260BCA08D1}"/>
                </a:ext>
              </a:extLst>
            </p:cNvPr>
            <p:cNvSpPr/>
            <p:nvPr/>
          </p:nvSpPr>
          <p:spPr>
            <a:xfrm>
              <a:off x="9426074" y="4779447"/>
              <a:ext cx="1907462" cy="1850974"/>
            </a:xfrm>
            <a:prstGeom prst="rect">
              <a:avLst/>
            </a:prstGeom>
            <a:blipFill rotWithShape="1">
              <a:blip r:embed="rId5" cstate="print">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Freeform: Shape 11">
              <a:extLst>
                <a:ext uri="{FF2B5EF4-FFF2-40B4-BE49-F238E27FC236}">
                  <a16:creationId xmlns:a16="http://schemas.microsoft.com/office/drawing/2014/main" id="{38F52335-7AE7-445D-9C00-116641358AB9}"/>
                </a:ext>
              </a:extLst>
            </p:cNvPr>
            <p:cNvSpPr/>
            <p:nvPr/>
          </p:nvSpPr>
          <p:spPr>
            <a:xfrm>
              <a:off x="9556495" y="4781774"/>
              <a:ext cx="1682812" cy="486232"/>
            </a:xfrm>
            <a:custGeom>
              <a:avLst/>
              <a:gdLst>
                <a:gd name="connsiteX0" fmla="*/ 0 w 1682812"/>
                <a:gd name="connsiteY0" fmla="*/ 0 h 486232"/>
                <a:gd name="connsiteX1" fmla="*/ 1682812 w 1682812"/>
                <a:gd name="connsiteY1" fmla="*/ 0 h 486232"/>
                <a:gd name="connsiteX2" fmla="*/ 1682812 w 1682812"/>
                <a:gd name="connsiteY2" fmla="*/ 486232 h 486232"/>
                <a:gd name="connsiteX3" fmla="*/ 0 w 1682812"/>
                <a:gd name="connsiteY3" fmla="*/ 486232 h 486232"/>
                <a:gd name="connsiteX4" fmla="*/ 0 w 1682812"/>
                <a:gd name="connsiteY4" fmla="*/ 0 h 48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2812" h="486232">
                  <a:moveTo>
                    <a:pt x="0" y="0"/>
                  </a:moveTo>
                  <a:lnTo>
                    <a:pt x="1682812" y="0"/>
                  </a:lnTo>
                  <a:lnTo>
                    <a:pt x="1682812" y="486232"/>
                  </a:lnTo>
                  <a:lnTo>
                    <a:pt x="0" y="486232"/>
                  </a:lnTo>
                  <a:lnTo>
                    <a:pt x="0" y="0"/>
                  </a:lnTo>
                  <a:close/>
                </a:path>
              </a:pathLst>
            </a:custGeom>
            <a:noFill/>
            <a:ln>
              <a:noFill/>
            </a:ln>
            <a:sp3d/>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8575" tIns="9525" rIns="28575" bIns="0" numCol="1" spcCol="1270" anchor="b" anchorCtr="0">
              <a:noAutofit/>
            </a:bodyPr>
            <a:lstStyle/>
            <a:p>
              <a:pPr marL="0" marR="0" lvl="0" indent="0" algn="l"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Visual</a:t>
              </a:r>
            </a:p>
          </p:txBody>
        </p:sp>
      </p:grpSp>
      <p:grpSp>
        <p:nvGrpSpPr>
          <p:cNvPr id="15" name="Group 14">
            <a:extLst>
              <a:ext uri="{FF2B5EF4-FFF2-40B4-BE49-F238E27FC236}">
                <a16:creationId xmlns:a16="http://schemas.microsoft.com/office/drawing/2014/main" id="{CD863FA8-E6E3-4AB2-B244-3233C1438CC0}"/>
              </a:ext>
            </a:extLst>
          </p:cNvPr>
          <p:cNvGrpSpPr/>
          <p:nvPr/>
        </p:nvGrpSpPr>
        <p:grpSpPr>
          <a:xfrm>
            <a:off x="7020120" y="261523"/>
            <a:ext cx="2527598" cy="2471082"/>
            <a:chOff x="8532639" y="714120"/>
            <a:chExt cx="1814475" cy="1850974"/>
          </a:xfrm>
        </p:grpSpPr>
        <p:sp>
          <p:nvSpPr>
            <p:cNvPr id="16" name="Rectangle 15">
              <a:extLst>
                <a:ext uri="{FF2B5EF4-FFF2-40B4-BE49-F238E27FC236}">
                  <a16:creationId xmlns:a16="http://schemas.microsoft.com/office/drawing/2014/main" id="{701B611E-DA2E-4E1B-8000-26F8875C4406}"/>
                </a:ext>
              </a:extLst>
            </p:cNvPr>
            <p:cNvSpPr/>
            <p:nvPr/>
          </p:nvSpPr>
          <p:spPr>
            <a:xfrm>
              <a:off x="8532639" y="714120"/>
              <a:ext cx="1814475" cy="1850974"/>
            </a:xfrm>
            <a:prstGeom prst="rect">
              <a:avLst/>
            </a:prstGeom>
            <a:blipFill rotWithShape="1">
              <a:blip r:embed="rId6" cstate="print">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 name="Freeform: Shape 16">
              <a:extLst>
                <a:ext uri="{FF2B5EF4-FFF2-40B4-BE49-F238E27FC236}">
                  <a16:creationId xmlns:a16="http://schemas.microsoft.com/office/drawing/2014/main" id="{5025169B-5C5F-416E-90E5-247D94446F4F}"/>
                </a:ext>
              </a:extLst>
            </p:cNvPr>
            <p:cNvSpPr/>
            <p:nvPr/>
          </p:nvSpPr>
          <p:spPr>
            <a:xfrm>
              <a:off x="8642907" y="1966390"/>
              <a:ext cx="1589826" cy="486232"/>
            </a:xfrm>
            <a:custGeom>
              <a:avLst/>
              <a:gdLst>
                <a:gd name="connsiteX0" fmla="*/ 0 w 1589826"/>
                <a:gd name="connsiteY0" fmla="*/ 0 h 486232"/>
                <a:gd name="connsiteX1" fmla="*/ 1589826 w 1589826"/>
                <a:gd name="connsiteY1" fmla="*/ 0 h 486232"/>
                <a:gd name="connsiteX2" fmla="*/ 1589826 w 1589826"/>
                <a:gd name="connsiteY2" fmla="*/ 486232 h 486232"/>
                <a:gd name="connsiteX3" fmla="*/ 0 w 1589826"/>
                <a:gd name="connsiteY3" fmla="*/ 486232 h 486232"/>
                <a:gd name="connsiteX4" fmla="*/ 0 w 1589826"/>
                <a:gd name="connsiteY4" fmla="*/ 0 h 48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9826" h="486232">
                  <a:moveTo>
                    <a:pt x="0" y="0"/>
                  </a:moveTo>
                  <a:lnTo>
                    <a:pt x="1589826" y="0"/>
                  </a:lnTo>
                  <a:lnTo>
                    <a:pt x="1589826" y="486232"/>
                  </a:lnTo>
                  <a:lnTo>
                    <a:pt x="0" y="486232"/>
                  </a:lnTo>
                  <a:lnTo>
                    <a:pt x="0" y="0"/>
                  </a:lnTo>
                  <a:close/>
                </a:path>
              </a:pathLst>
            </a:custGeom>
            <a:noFill/>
            <a:ln>
              <a:noFill/>
            </a:ln>
            <a:sp3d/>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8575" tIns="9525" rIns="28575" bIns="0" numCol="1" spcCol="1270" anchor="b" anchorCtr="0">
              <a:noAutofit/>
            </a:bodyPr>
            <a:lstStyle/>
            <a:p>
              <a:pPr marL="0" marR="0" lvl="0" indent="0" algn="r"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Mobility</a:t>
              </a:r>
            </a:p>
          </p:txBody>
        </p:sp>
      </p:grpSp>
      <p:grpSp>
        <p:nvGrpSpPr>
          <p:cNvPr id="18" name="Group 17">
            <a:extLst>
              <a:ext uri="{FF2B5EF4-FFF2-40B4-BE49-F238E27FC236}">
                <a16:creationId xmlns:a16="http://schemas.microsoft.com/office/drawing/2014/main" id="{FC3D8B71-9D7F-48A8-ACA4-52BE276A5C2F}"/>
              </a:ext>
            </a:extLst>
          </p:cNvPr>
          <p:cNvGrpSpPr/>
          <p:nvPr/>
        </p:nvGrpSpPr>
        <p:grpSpPr>
          <a:xfrm>
            <a:off x="6931338" y="2822599"/>
            <a:ext cx="3682470" cy="2135469"/>
            <a:chOff x="6912545" y="2876155"/>
            <a:chExt cx="3682470" cy="2135469"/>
          </a:xfrm>
        </p:grpSpPr>
        <p:pic>
          <p:nvPicPr>
            <p:cNvPr id="19" name="Picture 18">
              <a:extLst>
                <a:ext uri="{FF2B5EF4-FFF2-40B4-BE49-F238E27FC236}">
                  <a16:creationId xmlns:a16="http://schemas.microsoft.com/office/drawing/2014/main" id="{8866746A-76F9-44FC-AA3B-0AEFD9F696C4}"/>
                </a:ext>
              </a:extLst>
            </p:cNvPr>
            <p:cNvPicPr>
              <a:picLocks noChangeAspect="1"/>
            </p:cNvPicPr>
            <p:nvPr/>
          </p:nvPicPr>
          <p:blipFill>
            <a:blip r:embed="rId8"/>
            <a:stretch>
              <a:fillRect/>
            </a:stretch>
          </p:blipFill>
          <p:spPr>
            <a:xfrm>
              <a:off x="7440335" y="2908504"/>
              <a:ext cx="3154680" cy="2103120"/>
            </a:xfrm>
            <a:prstGeom prst="rect">
              <a:avLst/>
            </a:prstGeom>
          </p:spPr>
        </p:pic>
        <p:sp>
          <p:nvSpPr>
            <p:cNvPr id="20" name="Freeform: Shape 19">
              <a:extLst>
                <a:ext uri="{FF2B5EF4-FFF2-40B4-BE49-F238E27FC236}">
                  <a16:creationId xmlns:a16="http://schemas.microsoft.com/office/drawing/2014/main" id="{0FACF3A5-C713-4B08-9420-825DACF47A07}"/>
                </a:ext>
              </a:extLst>
            </p:cNvPr>
            <p:cNvSpPr/>
            <p:nvPr/>
          </p:nvSpPr>
          <p:spPr>
            <a:xfrm>
              <a:off x="6912545" y="2876155"/>
              <a:ext cx="1410235" cy="348403"/>
            </a:xfrm>
            <a:custGeom>
              <a:avLst/>
              <a:gdLst>
                <a:gd name="connsiteX0" fmla="*/ 0 w 1982345"/>
                <a:gd name="connsiteY0" fmla="*/ 0 h 486232"/>
                <a:gd name="connsiteX1" fmla="*/ 1982345 w 1982345"/>
                <a:gd name="connsiteY1" fmla="*/ 0 h 486232"/>
                <a:gd name="connsiteX2" fmla="*/ 1982345 w 1982345"/>
                <a:gd name="connsiteY2" fmla="*/ 486232 h 486232"/>
                <a:gd name="connsiteX3" fmla="*/ 0 w 1982345"/>
                <a:gd name="connsiteY3" fmla="*/ 486232 h 486232"/>
                <a:gd name="connsiteX4" fmla="*/ 0 w 1982345"/>
                <a:gd name="connsiteY4" fmla="*/ 0 h 48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2345" h="486232">
                  <a:moveTo>
                    <a:pt x="0" y="0"/>
                  </a:moveTo>
                  <a:lnTo>
                    <a:pt x="1982345" y="0"/>
                  </a:lnTo>
                  <a:lnTo>
                    <a:pt x="1982345" y="486232"/>
                  </a:lnTo>
                  <a:lnTo>
                    <a:pt x="0" y="486232"/>
                  </a:lnTo>
                  <a:lnTo>
                    <a:pt x="0" y="0"/>
                  </a:lnTo>
                  <a:close/>
                </a:path>
              </a:pathLst>
            </a:custGeom>
            <a:noFill/>
            <a:ln>
              <a:noFill/>
            </a:ln>
            <a:sp3d/>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8575" tIns="9525" rIns="28575" bIns="0" numCol="1" spcCol="1270" anchor="b" anchorCtr="0">
              <a:noAutofit/>
            </a:bodyPr>
            <a:lstStyle/>
            <a:p>
              <a:pPr marL="0" marR="0" lvl="0" indent="0" algn="r"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Learning</a:t>
              </a:r>
            </a:p>
          </p:txBody>
        </p:sp>
      </p:grpSp>
      <p:grpSp>
        <p:nvGrpSpPr>
          <p:cNvPr id="21" name="Group 20">
            <a:extLst>
              <a:ext uri="{FF2B5EF4-FFF2-40B4-BE49-F238E27FC236}">
                <a16:creationId xmlns:a16="http://schemas.microsoft.com/office/drawing/2014/main" id="{22789454-703C-4E82-9871-6A8DE3EA6300}"/>
              </a:ext>
            </a:extLst>
          </p:cNvPr>
          <p:cNvGrpSpPr/>
          <p:nvPr/>
        </p:nvGrpSpPr>
        <p:grpSpPr>
          <a:xfrm>
            <a:off x="9674429" y="1628218"/>
            <a:ext cx="2281970" cy="1523169"/>
            <a:chOff x="5299945" y="5112403"/>
            <a:chExt cx="1942846" cy="1100023"/>
          </a:xfrm>
        </p:grpSpPr>
        <p:sp>
          <p:nvSpPr>
            <p:cNvPr id="22" name="Rectangle 21">
              <a:extLst>
                <a:ext uri="{FF2B5EF4-FFF2-40B4-BE49-F238E27FC236}">
                  <a16:creationId xmlns:a16="http://schemas.microsoft.com/office/drawing/2014/main" id="{23CBC2A4-FDD1-4C80-948E-063927C5CCC8}"/>
                </a:ext>
              </a:extLst>
            </p:cNvPr>
            <p:cNvSpPr/>
            <p:nvPr/>
          </p:nvSpPr>
          <p:spPr>
            <a:xfrm>
              <a:off x="5299945" y="5112403"/>
              <a:ext cx="1942846" cy="1100023"/>
            </a:xfrm>
            <a:prstGeom prst="rect">
              <a:avLst/>
            </a:prstGeom>
            <a:blipFill rotWithShape="1">
              <a:blip r:embed="rId9" cstate="print">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Freeform: Shape 22">
              <a:extLst>
                <a:ext uri="{FF2B5EF4-FFF2-40B4-BE49-F238E27FC236}">
                  <a16:creationId xmlns:a16="http://schemas.microsoft.com/office/drawing/2014/main" id="{70AF90C1-919B-45BD-85E1-DC3ACD41AD16}"/>
                </a:ext>
              </a:extLst>
            </p:cNvPr>
            <p:cNvSpPr/>
            <p:nvPr/>
          </p:nvSpPr>
          <p:spPr>
            <a:xfrm>
              <a:off x="5470923" y="5646066"/>
              <a:ext cx="1720665" cy="486232"/>
            </a:xfrm>
            <a:custGeom>
              <a:avLst/>
              <a:gdLst>
                <a:gd name="connsiteX0" fmla="*/ 0 w 1720665"/>
                <a:gd name="connsiteY0" fmla="*/ 0 h 486232"/>
                <a:gd name="connsiteX1" fmla="*/ 1720665 w 1720665"/>
                <a:gd name="connsiteY1" fmla="*/ 0 h 486232"/>
                <a:gd name="connsiteX2" fmla="*/ 1720665 w 1720665"/>
                <a:gd name="connsiteY2" fmla="*/ 486232 h 486232"/>
                <a:gd name="connsiteX3" fmla="*/ 0 w 1720665"/>
                <a:gd name="connsiteY3" fmla="*/ 486232 h 486232"/>
                <a:gd name="connsiteX4" fmla="*/ 0 w 1720665"/>
                <a:gd name="connsiteY4" fmla="*/ 0 h 48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665" h="486232">
                  <a:moveTo>
                    <a:pt x="0" y="0"/>
                  </a:moveTo>
                  <a:lnTo>
                    <a:pt x="1720665" y="0"/>
                  </a:lnTo>
                  <a:lnTo>
                    <a:pt x="1720665" y="486232"/>
                  </a:lnTo>
                  <a:lnTo>
                    <a:pt x="0" y="486232"/>
                  </a:lnTo>
                  <a:lnTo>
                    <a:pt x="0" y="0"/>
                  </a:lnTo>
                  <a:close/>
                </a:path>
              </a:pathLst>
            </a:custGeom>
            <a:noFill/>
            <a:ln>
              <a:noFill/>
            </a:ln>
            <a:sp3d/>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8575" tIns="9525" rIns="28575" bIns="0" numCol="1" spcCol="1270" anchor="b" anchorCtr="0">
              <a:noAutofit/>
            </a:bodyPr>
            <a:lstStyle/>
            <a:p>
              <a:pPr marL="0" marR="0" lvl="0" indent="0" algn="r"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Hearing</a:t>
              </a:r>
            </a:p>
          </p:txBody>
        </p:sp>
      </p:grpSp>
      <p:grpSp>
        <p:nvGrpSpPr>
          <p:cNvPr id="24" name="Group 23">
            <a:extLst>
              <a:ext uri="{FF2B5EF4-FFF2-40B4-BE49-F238E27FC236}">
                <a16:creationId xmlns:a16="http://schemas.microsoft.com/office/drawing/2014/main" id="{6A3DD9DF-8CA3-4060-B35D-4A98654F10C9}"/>
              </a:ext>
            </a:extLst>
          </p:cNvPr>
          <p:cNvGrpSpPr/>
          <p:nvPr/>
        </p:nvGrpSpPr>
        <p:grpSpPr>
          <a:xfrm>
            <a:off x="6575186" y="4687749"/>
            <a:ext cx="2588755" cy="1890661"/>
            <a:chOff x="5910589" y="490055"/>
            <a:chExt cx="1710337" cy="1476335"/>
          </a:xfrm>
        </p:grpSpPr>
        <p:sp>
          <p:nvSpPr>
            <p:cNvPr id="25" name="Rectangle 24" descr="Human brain nerve cells">
              <a:extLst>
                <a:ext uri="{FF2B5EF4-FFF2-40B4-BE49-F238E27FC236}">
                  <a16:creationId xmlns:a16="http://schemas.microsoft.com/office/drawing/2014/main" id="{C271AFA4-E267-426B-A566-7DBDE41919FD}"/>
                </a:ext>
              </a:extLst>
            </p:cNvPr>
            <p:cNvSpPr/>
            <p:nvPr/>
          </p:nvSpPr>
          <p:spPr>
            <a:xfrm>
              <a:off x="6147669" y="490055"/>
              <a:ext cx="1473257" cy="1476335"/>
            </a:xfrm>
            <a:prstGeom prst="rect">
              <a:avLst/>
            </a:prstGeom>
            <a:blipFill>
              <a:blip r:embed="rId10" cstate="print">
                <a:extLst>
                  <a:ext uri="{28A0092B-C50C-407E-A947-70E740481C1C}">
                    <a14:useLocalDpi xmlns:a14="http://schemas.microsoft.com/office/drawing/2010/main"/>
                  </a:ext>
                </a:extLst>
              </a:blip>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26" name="Freeform: Shape 25">
              <a:extLst>
                <a:ext uri="{FF2B5EF4-FFF2-40B4-BE49-F238E27FC236}">
                  <a16:creationId xmlns:a16="http://schemas.microsoft.com/office/drawing/2014/main" id="{0504D8C7-E6C0-49E1-AC83-13707A86E064}"/>
                </a:ext>
              </a:extLst>
            </p:cNvPr>
            <p:cNvSpPr/>
            <p:nvPr/>
          </p:nvSpPr>
          <p:spPr>
            <a:xfrm>
              <a:off x="5910589" y="1603186"/>
              <a:ext cx="859921" cy="314699"/>
            </a:xfrm>
            <a:custGeom>
              <a:avLst/>
              <a:gdLst>
                <a:gd name="connsiteX0" fmla="*/ 0 w 859921"/>
                <a:gd name="connsiteY0" fmla="*/ 0 h 486232"/>
                <a:gd name="connsiteX1" fmla="*/ 859921 w 859921"/>
                <a:gd name="connsiteY1" fmla="*/ 0 h 486232"/>
                <a:gd name="connsiteX2" fmla="*/ 859921 w 859921"/>
                <a:gd name="connsiteY2" fmla="*/ 486232 h 486232"/>
                <a:gd name="connsiteX3" fmla="*/ 0 w 859921"/>
                <a:gd name="connsiteY3" fmla="*/ 486232 h 486232"/>
                <a:gd name="connsiteX4" fmla="*/ 0 w 859921"/>
                <a:gd name="connsiteY4" fmla="*/ 0 h 48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921" h="486232">
                  <a:moveTo>
                    <a:pt x="0" y="0"/>
                  </a:moveTo>
                  <a:lnTo>
                    <a:pt x="859921" y="0"/>
                  </a:lnTo>
                  <a:lnTo>
                    <a:pt x="859921" y="486232"/>
                  </a:lnTo>
                  <a:lnTo>
                    <a:pt x="0" y="486232"/>
                  </a:lnTo>
                  <a:lnTo>
                    <a:pt x="0" y="0"/>
                  </a:lnTo>
                  <a:close/>
                </a:path>
              </a:pathLst>
            </a:custGeom>
            <a:noFill/>
            <a:ln>
              <a:noFill/>
            </a:ln>
            <a:sp3d/>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28575" tIns="9525" rIns="28575" bIns="0" numCol="1" spcCol="1270" anchor="b" anchorCtr="0">
              <a:noAutofit/>
            </a:bodyPr>
            <a:lstStyle/>
            <a:p>
              <a:pPr marL="0" marR="0" lvl="0" indent="0" algn="r" defTabSz="666750" rtl="0" eaLnBrk="1" fontAlgn="auto" latinLnBrk="0" hangingPunct="1">
                <a:lnSpc>
                  <a:spcPct val="90000"/>
                </a:lnSpc>
                <a:spcBef>
                  <a:spcPct val="0"/>
                </a:spcBef>
                <a:spcAft>
                  <a:spcPct val="35000"/>
                </a:spcAft>
                <a:buClrTx/>
                <a:buSzTx/>
                <a:buFontTx/>
                <a:buNone/>
                <a:tabLst/>
                <a:defRPr/>
              </a:pPr>
              <a:r>
                <a:rPr kumimoji="0" lang="en-US" sz="1500" b="0" i="0" u="none" strike="noStrike" kern="1200" cap="none" spc="0" normalizeH="0" baseline="0" noProof="0">
                  <a:ln>
                    <a:noFill/>
                  </a:ln>
                  <a:solidFill>
                    <a:srgbClr val="FFFFFF">
                      <a:hueOff val="0"/>
                      <a:satOff val="0"/>
                      <a:lumOff val="0"/>
                      <a:alphaOff val="0"/>
                    </a:srgbClr>
                  </a:solidFill>
                  <a:effectLst/>
                  <a:uLnTx/>
                  <a:uFillTx/>
                  <a:latin typeface="Segoe UI"/>
                  <a:ea typeface="+mn-ea"/>
                  <a:cs typeface="+mn-cs"/>
                </a:rPr>
                <a:t>Cognitive</a:t>
              </a:r>
            </a:p>
          </p:txBody>
        </p:sp>
      </p:grpSp>
      <p:sp>
        <p:nvSpPr>
          <p:cNvPr id="27" name="Title Placeholder 1">
            <a:extLst>
              <a:ext uri="{FF2B5EF4-FFF2-40B4-BE49-F238E27FC236}">
                <a16:creationId xmlns:a16="http://schemas.microsoft.com/office/drawing/2014/main" id="{2503961D-B227-4035-9A88-203C03CBE32A}"/>
              </a:ext>
            </a:extLst>
          </p:cNvPr>
          <p:cNvSpPr>
            <a:spLocks noGrp="1"/>
          </p:cNvSpPr>
          <p:nvPr>
            <p:ph type="title"/>
          </p:nvPr>
        </p:nvSpPr>
        <p:spPr>
          <a:xfrm>
            <a:off x="-1074" y="2349053"/>
            <a:ext cx="4666744" cy="2471082"/>
          </a:xfrm>
          <a:prstGeom prst="rect">
            <a:avLst/>
          </a:prstGeom>
        </p:spPr>
        <p:txBody>
          <a:bodyPr vert="horz" wrap="square" lIns="182880" tIns="182880" rIns="182880" bIns="182880" rtlCol="0" anchor="t">
            <a:noAutofit/>
          </a:bodyPr>
          <a:lstStyle>
            <a:lvl1pPr algn="r">
              <a:defRPr sz="4000">
                <a:solidFill>
                  <a:schemeClr val="accent2"/>
                </a:solidFill>
                <a:latin typeface="+mn-lt"/>
              </a:defRPr>
            </a:lvl1pPr>
          </a:lstStyle>
          <a:p>
            <a:r>
              <a:rPr lang="en-US"/>
              <a:t>Click to edit Master title style</a:t>
            </a:r>
          </a:p>
        </p:txBody>
      </p:sp>
      <p:sp>
        <p:nvSpPr>
          <p:cNvPr id="28" name="Text Placeholder 4">
            <a:extLst>
              <a:ext uri="{FF2B5EF4-FFF2-40B4-BE49-F238E27FC236}">
                <a16:creationId xmlns:a16="http://schemas.microsoft.com/office/drawing/2014/main" id="{8997E7DC-053F-468F-949F-2A79B389D2FF}"/>
              </a:ext>
            </a:extLst>
          </p:cNvPr>
          <p:cNvSpPr>
            <a:spLocks noGrp="1"/>
          </p:cNvSpPr>
          <p:nvPr>
            <p:ph type="body" sz="quarter" idx="12" hasCustomPrompt="1"/>
          </p:nvPr>
        </p:nvSpPr>
        <p:spPr>
          <a:xfrm>
            <a:off x="501087" y="5005195"/>
            <a:ext cx="4164583" cy="338554"/>
          </a:xfrm>
          <a:prstGeom prst="rect">
            <a:avLst/>
          </a:prstGeom>
          <a:noFill/>
        </p:spPr>
        <p:txBody>
          <a:bodyPr wrap="square" lIns="0" tIns="0" rIns="0" bIns="0">
            <a:spAutoFit/>
          </a:bodyPr>
          <a:lstStyle>
            <a:lvl1pPr marL="0" indent="0" algn="r">
              <a:spcBef>
                <a:spcPts val="0"/>
              </a:spcBef>
              <a:buNone/>
              <a:defRPr sz="2200" spc="0" baseline="0">
                <a:solidFill>
                  <a:schemeClr val="accent2"/>
                </a:solidFill>
                <a:latin typeface="+mn-lt"/>
                <a:cs typeface="Segoe UI" panose="020B0502040204020203" pitchFamily="34" charset="0"/>
              </a:defRPr>
            </a:lvl1pPr>
          </a:lstStyle>
          <a:p>
            <a:pPr lvl="0"/>
            <a:r>
              <a:rPr lang="en-US"/>
              <a:t>Speaker name or subtitle</a:t>
            </a:r>
          </a:p>
        </p:txBody>
      </p:sp>
      <p:pic>
        <p:nvPicPr>
          <p:cNvPr id="29" name="MS logo gray - EMF" descr="Microsoft logo, gray text version">
            <a:extLst>
              <a:ext uri="{FF2B5EF4-FFF2-40B4-BE49-F238E27FC236}">
                <a16:creationId xmlns:a16="http://schemas.microsoft.com/office/drawing/2014/main" id="{AF656B15-CA3A-419B-8E42-9A2B5076FC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22754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C402D7-C880-4E53-8DA0-EDA4DB2F1010}"/>
              </a:ext>
            </a:extLst>
          </p:cNvPr>
          <p:cNvPicPr>
            <a:picLocks noChangeAspect="1"/>
          </p:cNvPicPr>
          <p:nvPr/>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F8883B9-E80E-499C-90AE-76E4031C6FE0}"/>
              </a:ext>
            </a:extLst>
          </p:cNvPr>
          <p:cNvSpPr/>
          <p:nvPr/>
        </p:nvSpPr>
        <p:spPr bwMode="auto">
          <a:xfrm>
            <a:off x="0" y="0"/>
            <a:ext cx="5334000" cy="68580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a:prstGeom prst="rect">
            <a:avLst/>
          </a:prstGeo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prstGeom prst="rect">
            <a:avLst/>
          </a:prstGeo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05CD47F2-74F1-4A44-9C9F-9CCE0176F4C6}"/>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7A7CA218-7DC8-4850-AFAB-DB3F3B6179C0}"/>
              </a:ext>
            </a:extLst>
          </p:cNvPr>
          <p:cNvSpPr/>
          <p:nvPr userDrawn="1"/>
        </p:nvSpPr>
        <p:spPr bwMode="auto">
          <a:xfrm>
            <a:off x="0" y="0"/>
            <a:ext cx="5334000" cy="68580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MS logo white - EMF" descr="Microsoft logo white text version">
            <a:extLst>
              <a:ext uri="{FF2B5EF4-FFF2-40B4-BE49-F238E27FC236}">
                <a16:creationId xmlns:a16="http://schemas.microsoft.com/office/drawing/2014/main" id="{3769B787-509E-48D9-AB4E-720BA4F99D6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794138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a:prstGeom prst="rect">
            <a:avLst/>
          </a:prstGeo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prstGeom prst="rect">
            <a:avLst/>
          </a:prstGeo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6" name="MS logo gray - EMF" descr="Microsoft logo, gray text version">
            <a:extLst>
              <a:ext uri="{FF2B5EF4-FFF2-40B4-BE49-F238E27FC236}">
                <a16:creationId xmlns:a16="http://schemas.microsoft.com/office/drawing/2014/main" id="{D8DA540B-A5A0-4611-9A5A-677021F18B73}"/>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9" name="Picture 8" descr="Two people sitting at a table using a computer.&#10;&#10;Description automatically generated">
            <a:extLst>
              <a:ext uri="{FF2B5EF4-FFF2-40B4-BE49-F238E27FC236}">
                <a16:creationId xmlns:a16="http://schemas.microsoft.com/office/drawing/2014/main" id="{4384A37A-B7B0-47D6-93E1-18820D0E29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293899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C402D7-C880-4E53-8DA0-EDA4DB2F101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F8883B9-E80E-499C-90AE-76E4031C6FE0}"/>
              </a:ext>
            </a:extLst>
          </p:cNvPr>
          <p:cNvSpPr/>
          <p:nvPr userDrawn="1"/>
        </p:nvSpPr>
        <p:spPr bwMode="auto">
          <a:xfrm>
            <a:off x="0" y="0"/>
            <a:ext cx="5334000" cy="68580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prstGeom prst="rect">
            <a:avLst/>
          </a:prstGeo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7609F465-BE4F-4E4F-BCD4-F66311638ED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45611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prstGeom prst="rect">
            <a:avLst/>
          </a:prstGeo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prstGeom prst="rect">
            <a:avLst/>
          </a:prstGeo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descr="Microsoft logo, gray text version">
            <a:extLst>
              <a:ext uri="{FF2B5EF4-FFF2-40B4-BE49-F238E27FC236}">
                <a16:creationId xmlns:a16="http://schemas.microsoft.com/office/drawing/2014/main" id="{76CBE738-A7D3-4FD0-AC08-52553B9A567D}"/>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2837392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936221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a:prstGeom prst="rect">
            <a:avLst/>
          </a:prstGeo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reeform: Shape 1">
            <a:extLst>
              <a:ext uri="{FF2B5EF4-FFF2-40B4-BE49-F238E27FC236}">
                <a16:creationId xmlns:a16="http://schemas.microsoft.com/office/drawing/2014/main" id="{D4B46872-3CD1-4E29-B578-1ECACD0FFD81}"/>
              </a:ext>
              <a:ext uri="{C183D7F6-B498-43B3-948B-1728B52AA6E4}">
                <adec:decorative xmlns:adec="http://schemas.microsoft.com/office/drawing/2017/decorative" val="1"/>
              </a:ext>
            </a:extLst>
          </p:cNvPr>
          <p:cNvSpPr/>
          <p:nvPr/>
        </p:nvSpPr>
        <p:spPr bwMode="auto">
          <a:xfrm>
            <a:off x="11016180" y="296548"/>
            <a:ext cx="1175820" cy="551176"/>
          </a:xfrm>
          <a:custGeom>
            <a:avLst/>
            <a:gdLst>
              <a:gd name="connsiteX0" fmla="*/ 275588 w 1175820"/>
              <a:gd name="connsiteY0" fmla="*/ 0 h 551176"/>
              <a:gd name="connsiteX1" fmla="*/ 1175820 w 1175820"/>
              <a:gd name="connsiteY1" fmla="*/ 0 h 551176"/>
              <a:gd name="connsiteX2" fmla="*/ 1175820 w 1175820"/>
              <a:gd name="connsiteY2" fmla="*/ 551176 h 551176"/>
              <a:gd name="connsiteX3" fmla="*/ 275588 w 1175820"/>
              <a:gd name="connsiteY3" fmla="*/ 551175 h 551176"/>
              <a:gd name="connsiteX4" fmla="*/ 21657 w 1175820"/>
              <a:gd name="connsiteY4" fmla="*/ 382858 h 551176"/>
              <a:gd name="connsiteX5" fmla="*/ 0 w 1175820"/>
              <a:gd name="connsiteY5" fmla="*/ 275588 h 551176"/>
              <a:gd name="connsiteX6" fmla="*/ 21657 w 1175820"/>
              <a:gd name="connsiteY6" fmla="*/ 168317 h 551176"/>
              <a:gd name="connsiteX7" fmla="*/ 275588 w 1175820"/>
              <a:gd name="connsiteY7" fmla="*/ 0 h 5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820" h="551176">
                <a:moveTo>
                  <a:pt x="275588" y="0"/>
                </a:moveTo>
                <a:lnTo>
                  <a:pt x="1175820" y="0"/>
                </a:lnTo>
                <a:lnTo>
                  <a:pt x="1175820" y="551176"/>
                </a:lnTo>
                <a:lnTo>
                  <a:pt x="275588" y="551175"/>
                </a:lnTo>
                <a:cubicBezTo>
                  <a:pt x="161436" y="551175"/>
                  <a:pt x="63494" y="481771"/>
                  <a:pt x="21657" y="382858"/>
                </a:cubicBezTo>
                <a:lnTo>
                  <a:pt x="0" y="275588"/>
                </a:lnTo>
                <a:lnTo>
                  <a:pt x="21657" y="168317"/>
                </a:lnTo>
                <a:cubicBezTo>
                  <a:pt x="63494" y="69404"/>
                  <a:pt x="161436" y="0"/>
                  <a:pt x="275588"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Oval 2">
            <a:extLst>
              <a:ext uri="{FF2B5EF4-FFF2-40B4-BE49-F238E27FC236}">
                <a16:creationId xmlns:a16="http://schemas.microsoft.com/office/drawing/2014/main" id="{713E9D58-6EEB-4A81-BA64-5EC1A0BB081F}"/>
              </a:ext>
              <a:ext uri="{C183D7F6-B498-43B3-948B-1728B52AA6E4}">
                <adec:decorative xmlns:adec="http://schemas.microsoft.com/office/drawing/2017/decorative" val="1"/>
              </a:ext>
            </a:extLst>
          </p:cNvPr>
          <p:cNvSpPr/>
          <p:nvPr/>
        </p:nvSpPr>
        <p:spPr bwMode="auto">
          <a:xfrm>
            <a:off x="10953750" y="184786"/>
            <a:ext cx="774700" cy="774700"/>
          </a:xfrm>
          <a:prstGeom prst="ellipse">
            <a:avLst/>
          </a:prstGeom>
          <a:ln w="6350">
            <a:solidFill>
              <a:schemeClr val="accent1"/>
            </a:solid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9" name="Oval 8">
            <a:extLst>
              <a:ext uri="{FF2B5EF4-FFF2-40B4-BE49-F238E27FC236}">
                <a16:creationId xmlns:a16="http://schemas.microsoft.com/office/drawing/2014/main" id="{B19A5DC6-12E3-4485-AE7A-9B158BC1DA53}"/>
              </a:ext>
              <a:ext uri="{C183D7F6-B498-43B3-948B-1728B52AA6E4}">
                <adec:decorative xmlns:adec="http://schemas.microsoft.com/office/drawing/2017/decorative" val="1"/>
              </a:ext>
            </a:extLst>
          </p:cNvPr>
          <p:cNvSpPr/>
          <p:nvPr/>
        </p:nvSpPr>
        <p:spPr bwMode="auto">
          <a:xfrm>
            <a:off x="11000738" y="231774"/>
            <a:ext cx="680724" cy="680724"/>
          </a:xfrm>
          <a:prstGeom prst="ellipse">
            <a:avLst/>
          </a:prstGeom>
          <a:solidFill>
            <a:schemeClr val="bg1">
              <a:lumMod val="95000"/>
            </a:schemeClr>
          </a:solidFill>
          <a:ln w="6350">
            <a:no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11" name="Picture 10">
            <a:extLst>
              <a:ext uri="{FF2B5EF4-FFF2-40B4-BE49-F238E27FC236}">
                <a16:creationId xmlns:a16="http://schemas.microsoft.com/office/drawing/2014/main" id="{7ED37477-58F8-4951-AF3B-9880A8F83A74}"/>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021219" y="253634"/>
            <a:ext cx="639762" cy="637004"/>
          </a:xfrm>
          <a:prstGeom prst="rect">
            <a:avLst/>
          </a:prstGeom>
        </p:spPr>
      </p:pic>
      <p:sp>
        <p:nvSpPr>
          <p:cNvPr id="8" name="Freeform: Shape 7">
            <a:extLst>
              <a:ext uri="{FF2B5EF4-FFF2-40B4-BE49-F238E27FC236}">
                <a16:creationId xmlns:a16="http://schemas.microsoft.com/office/drawing/2014/main" id="{034FA138-7D79-4ECE-AF76-FB99A22651B2}"/>
              </a:ext>
              <a:ext uri="{C183D7F6-B498-43B3-948B-1728B52AA6E4}">
                <adec:decorative xmlns:adec="http://schemas.microsoft.com/office/drawing/2017/decorative" val="1"/>
              </a:ext>
            </a:extLst>
          </p:cNvPr>
          <p:cNvSpPr/>
          <p:nvPr userDrawn="1"/>
        </p:nvSpPr>
        <p:spPr bwMode="auto">
          <a:xfrm>
            <a:off x="11016180" y="296548"/>
            <a:ext cx="1175820" cy="551176"/>
          </a:xfrm>
          <a:custGeom>
            <a:avLst/>
            <a:gdLst>
              <a:gd name="connsiteX0" fmla="*/ 275588 w 1175820"/>
              <a:gd name="connsiteY0" fmla="*/ 0 h 551176"/>
              <a:gd name="connsiteX1" fmla="*/ 1175820 w 1175820"/>
              <a:gd name="connsiteY1" fmla="*/ 0 h 551176"/>
              <a:gd name="connsiteX2" fmla="*/ 1175820 w 1175820"/>
              <a:gd name="connsiteY2" fmla="*/ 551176 h 551176"/>
              <a:gd name="connsiteX3" fmla="*/ 275588 w 1175820"/>
              <a:gd name="connsiteY3" fmla="*/ 551175 h 551176"/>
              <a:gd name="connsiteX4" fmla="*/ 21657 w 1175820"/>
              <a:gd name="connsiteY4" fmla="*/ 382858 h 551176"/>
              <a:gd name="connsiteX5" fmla="*/ 0 w 1175820"/>
              <a:gd name="connsiteY5" fmla="*/ 275588 h 551176"/>
              <a:gd name="connsiteX6" fmla="*/ 21657 w 1175820"/>
              <a:gd name="connsiteY6" fmla="*/ 168317 h 551176"/>
              <a:gd name="connsiteX7" fmla="*/ 275588 w 1175820"/>
              <a:gd name="connsiteY7" fmla="*/ 0 h 5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820" h="551176">
                <a:moveTo>
                  <a:pt x="275588" y="0"/>
                </a:moveTo>
                <a:lnTo>
                  <a:pt x="1175820" y="0"/>
                </a:lnTo>
                <a:lnTo>
                  <a:pt x="1175820" y="551176"/>
                </a:lnTo>
                <a:lnTo>
                  <a:pt x="275588" y="551175"/>
                </a:lnTo>
                <a:cubicBezTo>
                  <a:pt x="161436" y="551175"/>
                  <a:pt x="63494" y="481771"/>
                  <a:pt x="21657" y="382858"/>
                </a:cubicBezTo>
                <a:lnTo>
                  <a:pt x="0" y="275588"/>
                </a:lnTo>
                <a:lnTo>
                  <a:pt x="21657" y="168317"/>
                </a:lnTo>
                <a:cubicBezTo>
                  <a:pt x="63494" y="69404"/>
                  <a:pt x="161436" y="0"/>
                  <a:pt x="275588"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0" name="Oval 9">
            <a:extLst>
              <a:ext uri="{FF2B5EF4-FFF2-40B4-BE49-F238E27FC236}">
                <a16:creationId xmlns:a16="http://schemas.microsoft.com/office/drawing/2014/main" id="{A3026388-F19D-4FC0-8A24-682E4E0F83E1}"/>
              </a:ext>
              <a:ext uri="{C183D7F6-B498-43B3-948B-1728B52AA6E4}">
                <adec:decorative xmlns:adec="http://schemas.microsoft.com/office/drawing/2017/decorative" val="1"/>
              </a:ext>
            </a:extLst>
          </p:cNvPr>
          <p:cNvSpPr/>
          <p:nvPr userDrawn="1"/>
        </p:nvSpPr>
        <p:spPr bwMode="auto">
          <a:xfrm>
            <a:off x="10953750" y="184786"/>
            <a:ext cx="774700" cy="774700"/>
          </a:xfrm>
          <a:prstGeom prst="ellipse">
            <a:avLst/>
          </a:prstGeom>
          <a:ln w="6350">
            <a:solidFill>
              <a:schemeClr val="accent1"/>
            </a:solid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2" name="Oval 11">
            <a:extLst>
              <a:ext uri="{FF2B5EF4-FFF2-40B4-BE49-F238E27FC236}">
                <a16:creationId xmlns:a16="http://schemas.microsoft.com/office/drawing/2014/main" id="{157F285F-F36F-4C14-B58C-120133E86257}"/>
              </a:ext>
              <a:ext uri="{C183D7F6-B498-43B3-948B-1728B52AA6E4}">
                <adec:decorative xmlns:adec="http://schemas.microsoft.com/office/drawing/2017/decorative" val="1"/>
              </a:ext>
            </a:extLst>
          </p:cNvPr>
          <p:cNvSpPr/>
          <p:nvPr userDrawn="1"/>
        </p:nvSpPr>
        <p:spPr bwMode="auto">
          <a:xfrm>
            <a:off x="11000738" y="231774"/>
            <a:ext cx="680724" cy="680724"/>
          </a:xfrm>
          <a:prstGeom prst="ellipse">
            <a:avLst/>
          </a:prstGeom>
          <a:solidFill>
            <a:schemeClr val="bg1">
              <a:lumMod val="95000"/>
            </a:schemeClr>
          </a:solidFill>
          <a:ln w="6350">
            <a:no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13" name="Picture 12">
            <a:extLst>
              <a:ext uri="{FF2B5EF4-FFF2-40B4-BE49-F238E27FC236}">
                <a16:creationId xmlns:a16="http://schemas.microsoft.com/office/drawing/2014/main" id="{FAB90B00-CE9B-4DAE-9E73-8C54FAF20FD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1021219" y="253634"/>
            <a:ext cx="639762" cy="637004"/>
          </a:xfrm>
          <a:prstGeom prst="rect">
            <a:avLst/>
          </a:prstGeom>
        </p:spPr>
      </p:pic>
    </p:spTree>
    <p:extLst>
      <p:ext uri="{BB962C8B-B14F-4D97-AF65-F5344CB8AC3E}">
        <p14:creationId xmlns:p14="http://schemas.microsoft.com/office/powerpoint/2010/main" val="25248775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4863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a:prstGeom prst="rect">
            <a:avLst/>
          </a:prstGeom>
        </p:spPr>
        <p:txBody>
          <a:bodyPr/>
          <a:lstStyle>
            <a:lvl1pPr>
              <a:defRPr>
                <a:solidFill>
                  <a:schemeClr val="accent1"/>
                </a:solidFill>
                <a:latin typeface="+mn-lt"/>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a:prstGeom prst="rect">
            <a:avLst/>
          </a:prstGeo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reeform: Shape 2">
            <a:extLst>
              <a:ext uri="{FF2B5EF4-FFF2-40B4-BE49-F238E27FC236}">
                <a16:creationId xmlns:a16="http://schemas.microsoft.com/office/drawing/2014/main" id="{6DEC0B04-2B7C-44D2-B6A2-7185DB093E1D}"/>
              </a:ext>
              <a:ext uri="{C183D7F6-B498-43B3-948B-1728B52AA6E4}">
                <adec:decorative xmlns:adec="http://schemas.microsoft.com/office/drawing/2017/decorative" val="1"/>
              </a:ext>
            </a:extLst>
          </p:cNvPr>
          <p:cNvSpPr/>
          <p:nvPr/>
        </p:nvSpPr>
        <p:spPr bwMode="auto">
          <a:xfrm>
            <a:off x="11016180" y="296548"/>
            <a:ext cx="1175820" cy="551176"/>
          </a:xfrm>
          <a:custGeom>
            <a:avLst/>
            <a:gdLst>
              <a:gd name="connsiteX0" fmla="*/ 275588 w 1175820"/>
              <a:gd name="connsiteY0" fmla="*/ 0 h 551176"/>
              <a:gd name="connsiteX1" fmla="*/ 1175820 w 1175820"/>
              <a:gd name="connsiteY1" fmla="*/ 0 h 551176"/>
              <a:gd name="connsiteX2" fmla="*/ 1175820 w 1175820"/>
              <a:gd name="connsiteY2" fmla="*/ 551176 h 551176"/>
              <a:gd name="connsiteX3" fmla="*/ 275588 w 1175820"/>
              <a:gd name="connsiteY3" fmla="*/ 551175 h 551176"/>
              <a:gd name="connsiteX4" fmla="*/ 21657 w 1175820"/>
              <a:gd name="connsiteY4" fmla="*/ 382858 h 551176"/>
              <a:gd name="connsiteX5" fmla="*/ 0 w 1175820"/>
              <a:gd name="connsiteY5" fmla="*/ 275588 h 551176"/>
              <a:gd name="connsiteX6" fmla="*/ 21657 w 1175820"/>
              <a:gd name="connsiteY6" fmla="*/ 168317 h 551176"/>
              <a:gd name="connsiteX7" fmla="*/ 275588 w 1175820"/>
              <a:gd name="connsiteY7" fmla="*/ 0 h 5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820" h="551176">
                <a:moveTo>
                  <a:pt x="275588" y="0"/>
                </a:moveTo>
                <a:lnTo>
                  <a:pt x="1175820" y="0"/>
                </a:lnTo>
                <a:lnTo>
                  <a:pt x="1175820" y="551176"/>
                </a:lnTo>
                <a:lnTo>
                  <a:pt x="275588" y="551175"/>
                </a:lnTo>
                <a:cubicBezTo>
                  <a:pt x="161436" y="551175"/>
                  <a:pt x="63494" y="481771"/>
                  <a:pt x="21657" y="382858"/>
                </a:cubicBezTo>
                <a:lnTo>
                  <a:pt x="0" y="275588"/>
                </a:lnTo>
                <a:lnTo>
                  <a:pt x="21657" y="168317"/>
                </a:lnTo>
                <a:cubicBezTo>
                  <a:pt x="63494" y="69404"/>
                  <a:pt x="161436" y="0"/>
                  <a:pt x="275588"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Oval 7">
            <a:extLst>
              <a:ext uri="{FF2B5EF4-FFF2-40B4-BE49-F238E27FC236}">
                <a16:creationId xmlns:a16="http://schemas.microsoft.com/office/drawing/2014/main" id="{89EA96F9-B936-4ACF-880C-A768884E4186}"/>
              </a:ext>
              <a:ext uri="{C183D7F6-B498-43B3-948B-1728B52AA6E4}">
                <adec:decorative xmlns:adec="http://schemas.microsoft.com/office/drawing/2017/decorative" val="1"/>
              </a:ext>
            </a:extLst>
          </p:cNvPr>
          <p:cNvSpPr/>
          <p:nvPr/>
        </p:nvSpPr>
        <p:spPr bwMode="auto">
          <a:xfrm>
            <a:off x="10953750" y="184786"/>
            <a:ext cx="774700" cy="774700"/>
          </a:xfrm>
          <a:prstGeom prst="ellipse">
            <a:avLst/>
          </a:prstGeom>
          <a:ln w="6350">
            <a:solidFill>
              <a:schemeClr val="accent1"/>
            </a:solid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Oval 9">
            <a:extLst>
              <a:ext uri="{FF2B5EF4-FFF2-40B4-BE49-F238E27FC236}">
                <a16:creationId xmlns:a16="http://schemas.microsoft.com/office/drawing/2014/main" id="{7712DC5C-76FC-4237-916C-85BE756C5241}"/>
              </a:ext>
              <a:ext uri="{C183D7F6-B498-43B3-948B-1728B52AA6E4}">
                <adec:decorative xmlns:adec="http://schemas.microsoft.com/office/drawing/2017/decorative" val="1"/>
              </a:ext>
            </a:extLst>
          </p:cNvPr>
          <p:cNvSpPr/>
          <p:nvPr/>
        </p:nvSpPr>
        <p:spPr bwMode="auto">
          <a:xfrm>
            <a:off x="11000738" y="231774"/>
            <a:ext cx="680724" cy="680724"/>
          </a:xfrm>
          <a:prstGeom prst="ellipse">
            <a:avLst/>
          </a:prstGeom>
          <a:solidFill>
            <a:schemeClr val="bg1">
              <a:lumMod val="95000"/>
            </a:schemeClr>
          </a:solidFill>
          <a:ln w="6350">
            <a:no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12" name="Picture 11">
            <a:extLst>
              <a:ext uri="{FF2B5EF4-FFF2-40B4-BE49-F238E27FC236}">
                <a16:creationId xmlns:a16="http://schemas.microsoft.com/office/drawing/2014/main" id="{F00D784C-FCBF-402D-9E92-544D44BB22C1}"/>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1021219" y="253634"/>
            <a:ext cx="639762" cy="637004"/>
          </a:xfrm>
          <a:prstGeom prst="rect">
            <a:avLst/>
          </a:prstGeom>
        </p:spPr>
      </p:pic>
      <p:sp>
        <p:nvSpPr>
          <p:cNvPr id="9" name="Freeform: Shape 8">
            <a:extLst>
              <a:ext uri="{FF2B5EF4-FFF2-40B4-BE49-F238E27FC236}">
                <a16:creationId xmlns:a16="http://schemas.microsoft.com/office/drawing/2014/main" id="{A41B3139-451F-4CEB-97ED-FDBADCFEDF1D}"/>
              </a:ext>
              <a:ext uri="{C183D7F6-B498-43B3-948B-1728B52AA6E4}">
                <adec:decorative xmlns:adec="http://schemas.microsoft.com/office/drawing/2017/decorative" val="1"/>
              </a:ext>
            </a:extLst>
          </p:cNvPr>
          <p:cNvSpPr/>
          <p:nvPr userDrawn="1"/>
        </p:nvSpPr>
        <p:spPr bwMode="auto">
          <a:xfrm>
            <a:off x="11016180" y="296548"/>
            <a:ext cx="1175820" cy="551176"/>
          </a:xfrm>
          <a:custGeom>
            <a:avLst/>
            <a:gdLst>
              <a:gd name="connsiteX0" fmla="*/ 275588 w 1175820"/>
              <a:gd name="connsiteY0" fmla="*/ 0 h 551176"/>
              <a:gd name="connsiteX1" fmla="*/ 1175820 w 1175820"/>
              <a:gd name="connsiteY1" fmla="*/ 0 h 551176"/>
              <a:gd name="connsiteX2" fmla="*/ 1175820 w 1175820"/>
              <a:gd name="connsiteY2" fmla="*/ 551176 h 551176"/>
              <a:gd name="connsiteX3" fmla="*/ 275588 w 1175820"/>
              <a:gd name="connsiteY3" fmla="*/ 551175 h 551176"/>
              <a:gd name="connsiteX4" fmla="*/ 21657 w 1175820"/>
              <a:gd name="connsiteY4" fmla="*/ 382858 h 551176"/>
              <a:gd name="connsiteX5" fmla="*/ 0 w 1175820"/>
              <a:gd name="connsiteY5" fmla="*/ 275588 h 551176"/>
              <a:gd name="connsiteX6" fmla="*/ 21657 w 1175820"/>
              <a:gd name="connsiteY6" fmla="*/ 168317 h 551176"/>
              <a:gd name="connsiteX7" fmla="*/ 275588 w 1175820"/>
              <a:gd name="connsiteY7" fmla="*/ 0 h 5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820" h="551176">
                <a:moveTo>
                  <a:pt x="275588" y="0"/>
                </a:moveTo>
                <a:lnTo>
                  <a:pt x="1175820" y="0"/>
                </a:lnTo>
                <a:lnTo>
                  <a:pt x="1175820" y="551176"/>
                </a:lnTo>
                <a:lnTo>
                  <a:pt x="275588" y="551175"/>
                </a:lnTo>
                <a:cubicBezTo>
                  <a:pt x="161436" y="551175"/>
                  <a:pt x="63494" y="481771"/>
                  <a:pt x="21657" y="382858"/>
                </a:cubicBezTo>
                <a:lnTo>
                  <a:pt x="0" y="275588"/>
                </a:lnTo>
                <a:lnTo>
                  <a:pt x="21657" y="168317"/>
                </a:lnTo>
                <a:cubicBezTo>
                  <a:pt x="63494" y="69404"/>
                  <a:pt x="161436" y="0"/>
                  <a:pt x="275588"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446D4A96-7A5A-4B32-AEB8-6BD2DB49CAD6}"/>
              </a:ext>
              <a:ext uri="{C183D7F6-B498-43B3-948B-1728B52AA6E4}">
                <adec:decorative xmlns:adec="http://schemas.microsoft.com/office/drawing/2017/decorative" val="1"/>
              </a:ext>
            </a:extLst>
          </p:cNvPr>
          <p:cNvSpPr/>
          <p:nvPr userDrawn="1"/>
        </p:nvSpPr>
        <p:spPr bwMode="auto">
          <a:xfrm>
            <a:off x="10953750" y="184786"/>
            <a:ext cx="774700" cy="774700"/>
          </a:xfrm>
          <a:prstGeom prst="ellipse">
            <a:avLst/>
          </a:prstGeom>
          <a:ln w="6350">
            <a:solidFill>
              <a:schemeClr val="accent1"/>
            </a:solid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Oval 12">
            <a:extLst>
              <a:ext uri="{FF2B5EF4-FFF2-40B4-BE49-F238E27FC236}">
                <a16:creationId xmlns:a16="http://schemas.microsoft.com/office/drawing/2014/main" id="{59171C48-33F6-469F-834D-B5C929B9E831}"/>
              </a:ext>
              <a:ext uri="{C183D7F6-B498-43B3-948B-1728B52AA6E4}">
                <adec:decorative xmlns:adec="http://schemas.microsoft.com/office/drawing/2017/decorative" val="1"/>
              </a:ext>
            </a:extLst>
          </p:cNvPr>
          <p:cNvSpPr/>
          <p:nvPr userDrawn="1"/>
        </p:nvSpPr>
        <p:spPr bwMode="auto">
          <a:xfrm>
            <a:off x="11000738" y="231774"/>
            <a:ext cx="680724" cy="680724"/>
          </a:xfrm>
          <a:prstGeom prst="ellipse">
            <a:avLst/>
          </a:prstGeom>
          <a:solidFill>
            <a:schemeClr val="bg1">
              <a:lumMod val="95000"/>
            </a:schemeClr>
          </a:solidFill>
          <a:ln w="6350">
            <a:no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14" name="Picture 13">
            <a:extLst>
              <a:ext uri="{FF2B5EF4-FFF2-40B4-BE49-F238E27FC236}">
                <a16:creationId xmlns:a16="http://schemas.microsoft.com/office/drawing/2014/main" id="{1CA1C077-3FC3-4E14-BC78-E4CE972322B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1021219" y="253634"/>
            <a:ext cx="639762" cy="637004"/>
          </a:xfrm>
          <a:prstGeom prst="rect">
            <a:avLst/>
          </a:prstGeom>
        </p:spPr>
      </p:pic>
    </p:spTree>
    <p:extLst>
      <p:ext uri="{BB962C8B-B14F-4D97-AF65-F5344CB8AC3E}">
        <p14:creationId xmlns:p14="http://schemas.microsoft.com/office/powerpoint/2010/main" val="416094876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7486485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pic>
        <p:nvPicPr>
          <p:cNvPr id="3" name="Picture 2" descr="A group of people sitting at a desk in front of a computer">
            <a:extLst>
              <a:ext uri="{FF2B5EF4-FFF2-40B4-BE49-F238E27FC236}">
                <a16:creationId xmlns:a16="http://schemas.microsoft.com/office/drawing/2014/main" id="{127C6E10-D234-49A1-8C4A-CC77EC94F858}"/>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5718628" cy="6858000"/>
          </a:xfrm>
          <a:prstGeom prst="rect">
            <a:avLst/>
          </a:prstGeom>
        </p:spPr>
      </p:pic>
      <p:sp>
        <p:nvSpPr>
          <p:cNvPr id="4" name="Rectangle 3">
            <a:extLst>
              <a:ext uri="{FF2B5EF4-FFF2-40B4-BE49-F238E27FC236}">
                <a16:creationId xmlns:a16="http://schemas.microsoft.com/office/drawing/2014/main" id="{2E3D3B4D-64DC-43F4-BC7B-70508A4A44D2}"/>
              </a:ext>
              <a:ext uri="{C183D7F6-B498-43B3-948B-1728B52AA6E4}">
                <adec:decorative xmlns:adec="http://schemas.microsoft.com/office/drawing/2017/decorative" val="1"/>
              </a:ext>
            </a:extLst>
          </p:cNvPr>
          <p:cNvSpPr/>
          <p:nvPr/>
        </p:nvSpPr>
        <p:spPr bwMode="auto">
          <a:xfrm>
            <a:off x="0" y="0"/>
            <a:ext cx="5718628" cy="6858000"/>
          </a:xfrm>
          <a:prstGeom prst="rect">
            <a:avLst/>
          </a:prstGeom>
          <a:gradFill flip="none" rotWithShape="1">
            <a:gsLst>
              <a:gs pos="85000">
                <a:schemeClr val="bg1">
                  <a:alpha val="0"/>
                </a:schemeClr>
              </a:gs>
              <a:gs pos="94000">
                <a:schemeClr val="tx1">
                  <a:alpha val="2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5130365" cy="553998"/>
          </a:xfrm>
          <a:prstGeom prst="rect">
            <a:avLst/>
          </a:prstGeom>
        </p:spPr>
        <p:txBody>
          <a:bodyPr/>
          <a:lstStyle>
            <a:lvl1pPr>
              <a:defRPr>
                <a:solidFill>
                  <a:schemeClr val="bg1"/>
                </a:solidFill>
              </a:defRPr>
            </a:lvl1pPr>
          </a:lstStyle>
          <a:p>
            <a:r>
              <a:rPr lang="en-US"/>
              <a:t>Click to edit Master title style</a:t>
            </a:r>
          </a:p>
        </p:txBody>
      </p:sp>
      <p:pic>
        <p:nvPicPr>
          <p:cNvPr id="5" name="Picture 4" descr="A group of people sitting at a desk in front of a computer">
            <a:extLst>
              <a:ext uri="{FF2B5EF4-FFF2-40B4-BE49-F238E27FC236}">
                <a16:creationId xmlns:a16="http://schemas.microsoft.com/office/drawing/2014/main" id="{8E62D999-71B3-4CD0-B5F4-24DE287DF57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718628" cy="6858000"/>
          </a:xfrm>
          <a:prstGeom prst="rect">
            <a:avLst/>
          </a:prstGeom>
        </p:spPr>
      </p:pic>
      <p:sp>
        <p:nvSpPr>
          <p:cNvPr id="6" name="Rectangle 5">
            <a:extLst>
              <a:ext uri="{FF2B5EF4-FFF2-40B4-BE49-F238E27FC236}">
                <a16:creationId xmlns:a16="http://schemas.microsoft.com/office/drawing/2014/main" id="{D046D2FA-A3B6-4FF4-81F8-B80E4940D30F}"/>
              </a:ext>
              <a:ext uri="{C183D7F6-B498-43B3-948B-1728B52AA6E4}">
                <adec:decorative xmlns:adec="http://schemas.microsoft.com/office/drawing/2017/decorative" val="1"/>
              </a:ext>
            </a:extLst>
          </p:cNvPr>
          <p:cNvSpPr/>
          <p:nvPr userDrawn="1"/>
        </p:nvSpPr>
        <p:spPr bwMode="auto">
          <a:xfrm>
            <a:off x="0" y="0"/>
            <a:ext cx="5718628" cy="6858000"/>
          </a:xfrm>
          <a:prstGeom prst="rect">
            <a:avLst/>
          </a:prstGeom>
          <a:gradFill flip="none" rotWithShape="1">
            <a:gsLst>
              <a:gs pos="85000">
                <a:schemeClr val="bg1">
                  <a:alpha val="0"/>
                </a:schemeClr>
              </a:gs>
              <a:gs pos="94000">
                <a:schemeClr val="tx1">
                  <a:alpha val="2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565736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a:prstGeom prst="rect">
            <a:avLst/>
          </a:prstGeo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14577821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a:prstGeom prst="rect">
            <a:avLst/>
          </a:prstGeo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prstGeom prst="rect">
            <a:avLst/>
          </a:prstGeo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a:prstGeom prst="rect">
            <a:avLst/>
          </a:prstGeom>
        </p:spPr>
        <p:txBody>
          <a:bodyPr anchor="b"/>
          <a:lstStyle>
            <a:lvl1pPr>
              <a:defRPr/>
            </a:lvl1pPr>
          </a:lstStyle>
          <a:p>
            <a:r>
              <a:rPr lang="en-US"/>
              <a:t>Title square photo layout </a:t>
            </a:r>
          </a:p>
        </p:txBody>
      </p:sp>
      <p:pic>
        <p:nvPicPr>
          <p:cNvPr id="6" name="MS logo gray - EMF" descr="Microsoft logo, gray text version">
            <a:extLst>
              <a:ext uri="{FF2B5EF4-FFF2-40B4-BE49-F238E27FC236}">
                <a16:creationId xmlns:a16="http://schemas.microsoft.com/office/drawing/2014/main" id="{032A2265-1F0B-4214-93D2-3C7109E7212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826928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prstGeom prst="rect">
            <a:avLst/>
          </a:prstGeo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a:prstGeom prst="rect">
            <a:avLst/>
          </a:prstGeom>
        </p:spPr>
        <p:txBody>
          <a:bodyPr anchor="ctr"/>
          <a:lstStyle/>
          <a:p>
            <a:r>
              <a:rPr lang="en-US"/>
              <a:t>Click to edit Master title style</a:t>
            </a:r>
          </a:p>
        </p:txBody>
      </p:sp>
    </p:spTree>
    <p:extLst>
      <p:ext uri="{BB962C8B-B14F-4D97-AF65-F5344CB8AC3E}">
        <p14:creationId xmlns:p14="http://schemas.microsoft.com/office/powerpoint/2010/main" val="34331430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prstGeom prst="rect">
            <a:avLst/>
          </a:prstGeo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a:prstGeom prst="rect">
            <a:avLst/>
          </a:prstGeo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128917549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prstGeom prst="rect">
            <a:avLst/>
          </a:prstGeo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a:prstGeom prst="rect">
            <a:avLst/>
          </a:prstGeo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14678162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prstGeom prst="rect">
            <a:avLst/>
          </a:prstGeo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a:prstGeom prst="rect">
            <a:avLst/>
          </a:prstGeo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01848247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prstGeom prst="rect">
            <a:avLst/>
          </a:prstGeo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155671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0" y="0"/>
            <a:ext cx="12192000" cy="914400"/>
          </a:xfrm>
          <a:prstGeom prst="rect">
            <a:avLst/>
          </a:prstGeom>
          <a:solidFill>
            <a:schemeClr val="tx2"/>
          </a:solidFill>
        </p:spPr>
        <p:txBody>
          <a:bodyPr lIns="1005840" anchor="ctr" anchorCtr="0">
            <a:normAutofit/>
          </a:bodyPr>
          <a:lstStyle>
            <a:lvl1pPr>
              <a:defRPr>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prstGeom prst="rect">
            <a:avLst/>
          </a:prstGeo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14" name="Picture 2">
            <a:extLst>
              <a:ext uri="{FF2B5EF4-FFF2-40B4-BE49-F238E27FC236}">
                <a16:creationId xmlns:a16="http://schemas.microsoft.com/office/drawing/2014/main" id="{82542125-A67C-415D-A291-6C7945948995}"/>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3627" y="0"/>
            <a:ext cx="920299" cy="9144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497E290B-FCA6-4C0F-8DF1-B2FF2F71575A}"/>
              </a:ext>
              <a:ext uri="{C183D7F6-B498-43B3-948B-1728B52AA6E4}">
                <adec:decorative xmlns:adec="http://schemas.microsoft.com/office/drawing/2017/decorative" val="1"/>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3627" y="0"/>
            <a:ext cx="920299" cy="914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848671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a:prstGeom prst="rect">
            <a:avLst/>
          </a:prstGeo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prstGeom prst="rect">
            <a:avLst/>
          </a:prstGeo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65538735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a:xfrm>
            <a:off x="588263" y="457200"/>
            <a:ext cx="11018520" cy="553998"/>
          </a:xfrm>
          <a:prstGeom prst="rect">
            <a:avLst/>
          </a:prstGeom>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a:prstGeom prst="rect">
            <a:avLst/>
          </a:prstGeo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prstGeom prst="rect">
            <a:avLst/>
          </a:prstGeo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9963461"/>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a:prstGeom prst="rect">
            <a:avLst/>
          </a:prstGeo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a:prstGeom prst="rect">
            <a:avLst/>
          </a:prstGeo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8D6326D-9A14-4072-93F6-2ED1EA9DCD5C}"/>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A1F61D7-7C2F-4362-A628-E6C03E2856F8}"/>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Freeform: Shape 1">
            <a:extLst>
              <a:ext uri="{FF2B5EF4-FFF2-40B4-BE49-F238E27FC236}">
                <a16:creationId xmlns:a16="http://schemas.microsoft.com/office/drawing/2014/main" id="{01CB939C-DF18-4AF6-8C7C-58ECC75ED5C9}"/>
              </a:ext>
              <a:ext uri="{C183D7F6-B498-43B3-948B-1728B52AA6E4}">
                <adec:decorative xmlns:adec="http://schemas.microsoft.com/office/drawing/2017/decorative" val="1"/>
              </a:ext>
            </a:extLst>
          </p:cNvPr>
          <p:cNvSpPr/>
          <p:nvPr userDrawn="1"/>
        </p:nvSpPr>
        <p:spPr bwMode="auto">
          <a:xfrm>
            <a:off x="11016180" y="296548"/>
            <a:ext cx="1175820" cy="551176"/>
          </a:xfrm>
          <a:custGeom>
            <a:avLst/>
            <a:gdLst>
              <a:gd name="connsiteX0" fmla="*/ 275588 w 1175820"/>
              <a:gd name="connsiteY0" fmla="*/ 0 h 551176"/>
              <a:gd name="connsiteX1" fmla="*/ 1175820 w 1175820"/>
              <a:gd name="connsiteY1" fmla="*/ 0 h 551176"/>
              <a:gd name="connsiteX2" fmla="*/ 1175820 w 1175820"/>
              <a:gd name="connsiteY2" fmla="*/ 551176 h 551176"/>
              <a:gd name="connsiteX3" fmla="*/ 275588 w 1175820"/>
              <a:gd name="connsiteY3" fmla="*/ 551175 h 551176"/>
              <a:gd name="connsiteX4" fmla="*/ 21657 w 1175820"/>
              <a:gd name="connsiteY4" fmla="*/ 382858 h 551176"/>
              <a:gd name="connsiteX5" fmla="*/ 0 w 1175820"/>
              <a:gd name="connsiteY5" fmla="*/ 275588 h 551176"/>
              <a:gd name="connsiteX6" fmla="*/ 21657 w 1175820"/>
              <a:gd name="connsiteY6" fmla="*/ 168317 h 551176"/>
              <a:gd name="connsiteX7" fmla="*/ 275588 w 1175820"/>
              <a:gd name="connsiteY7" fmla="*/ 0 h 5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820" h="551176">
                <a:moveTo>
                  <a:pt x="275588" y="0"/>
                </a:moveTo>
                <a:lnTo>
                  <a:pt x="1175820" y="0"/>
                </a:lnTo>
                <a:lnTo>
                  <a:pt x="1175820" y="551176"/>
                </a:lnTo>
                <a:lnTo>
                  <a:pt x="275588" y="551175"/>
                </a:lnTo>
                <a:cubicBezTo>
                  <a:pt x="161436" y="551175"/>
                  <a:pt x="63494" y="481771"/>
                  <a:pt x="21657" y="382858"/>
                </a:cubicBezTo>
                <a:lnTo>
                  <a:pt x="0" y="275588"/>
                </a:lnTo>
                <a:lnTo>
                  <a:pt x="21657" y="168317"/>
                </a:lnTo>
                <a:cubicBezTo>
                  <a:pt x="63494" y="69404"/>
                  <a:pt x="161436" y="0"/>
                  <a:pt x="275588"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7F4A6051-A59F-41D9-B2A5-A010A69CC6DC}"/>
              </a:ext>
              <a:ext uri="{C183D7F6-B498-43B3-948B-1728B52AA6E4}">
                <adec:decorative xmlns:adec="http://schemas.microsoft.com/office/drawing/2017/decorative" val="1"/>
              </a:ext>
            </a:extLst>
          </p:cNvPr>
          <p:cNvSpPr/>
          <p:nvPr userDrawn="1"/>
        </p:nvSpPr>
        <p:spPr bwMode="auto">
          <a:xfrm>
            <a:off x="10953750" y="184786"/>
            <a:ext cx="774700" cy="774700"/>
          </a:xfrm>
          <a:prstGeom prst="ellipse">
            <a:avLst/>
          </a:prstGeom>
          <a:ln w="6350">
            <a:solidFill>
              <a:schemeClr val="accent1"/>
            </a:solid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Oval 12">
            <a:extLst>
              <a:ext uri="{FF2B5EF4-FFF2-40B4-BE49-F238E27FC236}">
                <a16:creationId xmlns:a16="http://schemas.microsoft.com/office/drawing/2014/main" id="{6E91B0C0-D726-4535-BAD4-75AA0B9CFD31}"/>
              </a:ext>
              <a:ext uri="{C183D7F6-B498-43B3-948B-1728B52AA6E4}">
                <adec:decorative xmlns:adec="http://schemas.microsoft.com/office/drawing/2017/decorative" val="1"/>
              </a:ext>
            </a:extLst>
          </p:cNvPr>
          <p:cNvSpPr/>
          <p:nvPr userDrawn="1"/>
        </p:nvSpPr>
        <p:spPr bwMode="auto">
          <a:xfrm>
            <a:off x="11000738" y="231774"/>
            <a:ext cx="680724" cy="680724"/>
          </a:xfrm>
          <a:prstGeom prst="ellipse">
            <a:avLst/>
          </a:prstGeom>
          <a:solidFill>
            <a:schemeClr val="bg1">
              <a:lumMod val="95000"/>
            </a:schemeClr>
          </a:solidFill>
          <a:ln w="6350">
            <a:no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Picture 14">
            <a:extLst>
              <a:ext uri="{FF2B5EF4-FFF2-40B4-BE49-F238E27FC236}">
                <a16:creationId xmlns:a16="http://schemas.microsoft.com/office/drawing/2014/main" id="{0AE53ECD-7966-428E-A4D7-A8F72EBE789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1021219" y="253634"/>
            <a:ext cx="639762" cy="637004"/>
          </a:xfrm>
          <a:prstGeom prst="rect">
            <a:avLst/>
          </a:prstGeom>
        </p:spPr>
      </p:pic>
      <p:sp>
        <p:nvSpPr>
          <p:cNvPr id="17" name="Freeform: Shape 16">
            <a:extLst>
              <a:ext uri="{FF2B5EF4-FFF2-40B4-BE49-F238E27FC236}">
                <a16:creationId xmlns:a16="http://schemas.microsoft.com/office/drawing/2014/main" id="{AEA15DB7-192E-412A-9B5D-04248018F4E2}"/>
              </a:ext>
              <a:ext uri="{C183D7F6-B498-43B3-948B-1728B52AA6E4}">
                <adec:decorative xmlns:adec="http://schemas.microsoft.com/office/drawing/2017/decorative" val="1"/>
              </a:ext>
            </a:extLst>
          </p:cNvPr>
          <p:cNvSpPr/>
          <p:nvPr userDrawn="1"/>
        </p:nvSpPr>
        <p:spPr bwMode="auto">
          <a:xfrm>
            <a:off x="11016180" y="296548"/>
            <a:ext cx="1175820" cy="551176"/>
          </a:xfrm>
          <a:custGeom>
            <a:avLst/>
            <a:gdLst>
              <a:gd name="connsiteX0" fmla="*/ 275588 w 1175820"/>
              <a:gd name="connsiteY0" fmla="*/ 0 h 551176"/>
              <a:gd name="connsiteX1" fmla="*/ 1175820 w 1175820"/>
              <a:gd name="connsiteY1" fmla="*/ 0 h 551176"/>
              <a:gd name="connsiteX2" fmla="*/ 1175820 w 1175820"/>
              <a:gd name="connsiteY2" fmla="*/ 551176 h 551176"/>
              <a:gd name="connsiteX3" fmla="*/ 275588 w 1175820"/>
              <a:gd name="connsiteY3" fmla="*/ 551175 h 551176"/>
              <a:gd name="connsiteX4" fmla="*/ 21657 w 1175820"/>
              <a:gd name="connsiteY4" fmla="*/ 382858 h 551176"/>
              <a:gd name="connsiteX5" fmla="*/ 0 w 1175820"/>
              <a:gd name="connsiteY5" fmla="*/ 275588 h 551176"/>
              <a:gd name="connsiteX6" fmla="*/ 21657 w 1175820"/>
              <a:gd name="connsiteY6" fmla="*/ 168317 h 551176"/>
              <a:gd name="connsiteX7" fmla="*/ 275588 w 1175820"/>
              <a:gd name="connsiteY7" fmla="*/ 0 h 5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5820" h="551176">
                <a:moveTo>
                  <a:pt x="275588" y="0"/>
                </a:moveTo>
                <a:lnTo>
                  <a:pt x="1175820" y="0"/>
                </a:lnTo>
                <a:lnTo>
                  <a:pt x="1175820" y="551176"/>
                </a:lnTo>
                <a:lnTo>
                  <a:pt x="275588" y="551175"/>
                </a:lnTo>
                <a:cubicBezTo>
                  <a:pt x="161436" y="551175"/>
                  <a:pt x="63494" y="481771"/>
                  <a:pt x="21657" y="382858"/>
                </a:cubicBezTo>
                <a:lnTo>
                  <a:pt x="0" y="275588"/>
                </a:lnTo>
                <a:lnTo>
                  <a:pt x="21657" y="168317"/>
                </a:lnTo>
                <a:cubicBezTo>
                  <a:pt x="63494" y="69404"/>
                  <a:pt x="161436" y="0"/>
                  <a:pt x="275588"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11D34400-297C-40D6-B0DD-A653EEA4E61F}"/>
              </a:ext>
              <a:ext uri="{C183D7F6-B498-43B3-948B-1728B52AA6E4}">
                <adec:decorative xmlns:adec="http://schemas.microsoft.com/office/drawing/2017/decorative" val="1"/>
              </a:ext>
            </a:extLst>
          </p:cNvPr>
          <p:cNvSpPr/>
          <p:nvPr userDrawn="1"/>
        </p:nvSpPr>
        <p:spPr bwMode="auto">
          <a:xfrm>
            <a:off x="10953750" y="184786"/>
            <a:ext cx="774700" cy="774700"/>
          </a:xfrm>
          <a:prstGeom prst="ellipse">
            <a:avLst/>
          </a:prstGeom>
          <a:ln w="6350">
            <a:solidFill>
              <a:schemeClr val="accent1"/>
            </a:solid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Oval 20">
            <a:extLst>
              <a:ext uri="{FF2B5EF4-FFF2-40B4-BE49-F238E27FC236}">
                <a16:creationId xmlns:a16="http://schemas.microsoft.com/office/drawing/2014/main" id="{392A8343-0FEB-430F-99F9-6DCDCFABD567}"/>
              </a:ext>
              <a:ext uri="{C183D7F6-B498-43B3-948B-1728B52AA6E4}">
                <adec:decorative xmlns:adec="http://schemas.microsoft.com/office/drawing/2017/decorative" val="1"/>
              </a:ext>
            </a:extLst>
          </p:cNvPr>
          <p:cNvSpPr/>
          <p:nvPr userDrawn="1"/>
        </p:nvSpPr>
        <p:spPr bwMode="auto">
          <a:xfrm>
            <a:off x="11000738" y="231774"/>
            <a:ext cx="680724" cy="680724"/>
          </a:xfrm>
          <a:prstGeom prst="ellipse">
            <a:avLst/>
          </a:prstGeom>
          <a:solidFill>
            <a:schemeClr val="bg1">
              <a:lumMod val="95000"/>
            </a:schemeClr>
          </a:solidFill>
          <a:ln w="6350">
            <a:noFill/>
            <a:prstDash val="dash"/>
            <a:headEnd type="none" w="lg" len="med"/>
            <a:tailEnd type="none" w="lg"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pic>
        <p:nvPicPr>
          <p:cNvPr id="23" name="Picture 22">
            <a:extLst>
              <a:ext uri="{FF2B5EF4-FFF2-40B4-BE49-F238E27FC236}">
                <a16:creationId xmlns:a16="http://schemas.microsoft.com/office/drawing/2014/main" id="{CEC5CAAD-9A7E-47FD-B84D-5367DE3078C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11021219" y="253634"/>
            <a:ext cx="639762" cy="637004"/>
          </a:xfrm>
          <a:prstGeom prst="rect">
            <a:avLst/>
          </a:prstGeom>
        </p:spPr>
      </p:pic>
      <p:sp>
        <p:nvSpPr>
          <p:cNvPr id="29" name="Text Placeholder 28">
            <a:extLst>
              <a:ext uri="{FF2B5EF4-FFF2-40B4-BE49-F238E27FC236}">
                <a16:creationId xmlns:a16="http://schemas.microsoft.com/office/drawing/2014/main" id="{DF5E3503-48B1-44D1-9D94-9A8950159414}"/>
              </a:ext>
            </a:extLst>
          </p:cNvPr>
          <p:cNvSpPr>
            <a:spLocks noGrp="1"/>
          </p:cNvSpPr>
          <p:nvPr>
            <p:ph type="body" sz="quarter" idx="11"/>
          </p:nvPr>
        </p:nvSpPr>
        <p:spPr>
          <a:xfrm>
            <a:off x="584200" y="281186"/>
            <a:ext cx="11122025" cy="615553"/>
          </a:xfrm>
        </p:spPr>
        <p:txBody>
          <a:bodyPr/>
          <a:lstStyle>
            <a:lvl1pPr marL="0" indent="0">
              <a:buNone/>
              <a:defRPr sz="4000">
                <a:solidFill>
                  <a:schemeClr val="accent1"/>
                </a:solidFill>
              </a:defRPr>
            </a:lvl1pPr>
          </a:lstStyle>
          <a:p>
            <a:pPr lvl="0"/>
            <a:endParaRPr lang="en-US"/>
          </a:p>
        </p:txBody>
      </p:sp>
    </p:spTree>
    <p:extLst>
      <p:ext uri="{BB962C8B-B14F-4D97-AF65-F5344CB8AC3E}">
        <p14:creationId xmlns:p14="http://schemas.microsoft.com/office/powerpoint/2010/main" val="2563893465"/>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a:prstGeom prst="rect">
            <a:avLst/>
          </a:prstGeo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a:prstGeom prst="rect">
            <a:avLst/>
          </a:prstGeom>
        </p:spPr>
        <p:txBody>
          <a:bodyPr anchor="ctr"/>
          <a:lstStyle>
            <a:lvl1pPr>
              <a:defRPr>
                <a:solidFill>
                  <a:schemeClr val="bg1"/>
                </a:solidFill>
              </a:defRPr>
            </a:lvl1pPr>
          </a:lstStyle>
          <a:p>
            <a:r>
              <a:rPr lang="en-US"/>
              <a:t>Title</a:t>
            </a:r>
          </a:p>
        </p:txBody>
      </p:sp>
      <p:sp>
        <p:nvSpPr>
          <p:cNvPr id="6" name="Rectangle 5">
            <a:extLst>
              <a:ext uri="{FF2B5EF4-FFF2-40B4-BE49-F238E27FC236}">
                <a16:creationId xmlns:a16="http://schemas.microsoft.com/office/drawing/2014/main" id="{FD239593-69FA-471E-A239-19DDE2B1770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984721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Graphic 5" descr="An illustrated graphic showing a globe and a diverse set of people">
            <a:extLst>
              <a:ext uri="{FF2B5EF4-FFF2-40B4-BE49-F238E27FC236}">
                <a16:creationId xmlns:a16="http://schemas.microsoft.com/office/drawing/2014/main" id="{EB7A8DFB-D187-4723-8C8A-259D057A7DE1}"/>
              </a:ext>
              <a:ext uri="{C183D7F6-B498-43B3-948B-1728B52AA6E4}">
                <adec:decorative xmlns:adec="http://schemas.microsoft.com/office/drawing/2017/decorative" val="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5691" y="0"/>
            <a:ext cx="5414818" cy="6895896"/>
          </a:xfrm>
          <a:prstGeom prst="rect">
            <a:avLst/>
          </a:prstGeom>
        </p:spPr>
      </p:pic>
    </p:spTree>
    <p:extLst>
      <p:ext uri="{BB962C8B-B14F-4D97-AF65-F5344CB8AC3E}">
        <p14:creationId xmlns:p14="http://schemas.microsoft.com/office/powerpoint/2010/main" val="4214972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a:prstGeom prst="rect">
            <a:avLst/>
          </a:prstGeo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a:prstGeom prst="rect">
            <a:avLst/>
          </a:prstGeom>
        </p:spPr>
        <p:txBody>
          <a:bodyPr anchor="ctr"/>
          <a:lstStyle>
            <a:lvl1pPr>
              <a:defRPr>
                <a:solidFill>
                  <a:schemeClr val="tx1"/>
                </a:solidFill>
              </a:defRPr>
            </a:lvl1pPr>
          </a:lstStyle>
          <a:p>
            <a:r>
              <a:rPr lang="en-US"/>
              <a:t>Title</a:t>
            </a:r>
          </a:p>
        </p:txBody>
      </p:sp>
      <p:sp>
        <p:nvSpPr>
          <p:cNvPr id="6" name="Rectangle 5">
            <a:extLst>
              <a:ext uri="{FF2B5EF4-FFF2-40B4-BE49-F238E27FC236}">
                <a16:creationId xmlns:a16="http://schemas.microsoft.com/office/drawing/2014/main" id="{1331F8B4-EB22-4773-B139-B335C40B09B3}"/>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0034076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a:prstGeom prst="rect">
            <a:avLst/>
          </a:prstGeo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a:prstGeom prst="rect">
            <a:avLst/>
          </a:prstGeom>
        </p:spPr>
        <p:txBody>
          <a:bodyPr anchor="ctr"/>
          <a:lstStyle>
            <a:lvl1pPr>
              <a:defRPr/>
            </a:lvl1pPr>
          </a:lstStyle>
          <a:p>
            <a:r>
              <a:rPr lang="en-US"/>
              <a:t>Title</a:t>
            </a:r>
          </a:p>
        </p:txBody>
      </p:sp>
      <p:cxnSp>
        <p:nvCxnSpPr>
          <p:cNvPr id="6" name="Straight Connector 5">
            <a:extLst>
              <a:ext uri="{FF2B5EF4-FFF2-40B4-BE49-F238E27FC236}">
                <a16:creationId xmlns:a16="http://schemas.microsoft.com/office/drawing/2014/main" id="{2463526B-E84F-405D-8A75-8C3CD7437DFF}"/>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5498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44790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prstGeom prst="rect">
            <a:avLst/>
          </a:prstGeo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72503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7" imgW="425" imgH="424" progId="TCLayout.ActiveDocument.1">
                  <p:embed/>
                </p:oleObj>
              </mc:Choice>
              <mc:Fallback>
                <p:oleObj name="think-cell Slide" r:id="rId7"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prstGeom prst="rect">
            <a:avLst/>
          </a:prstGeo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graphicFrame>
        <p:nvGraphicFramePr>
          <p:cNvPr id="5" name="Object 4" hidden="1">
            <a:extLst>
              <a:ext uri="{FF2B5EF4-FFF2-40B4-BE49-F238E27FC236}">
                <a16:creationId xmlns:a16="http://schemas.microsoft.com/office/drawing/2014/main" id="{713F70F1-C59C-4224-88A2-6543BB09BD28}"/>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9" imgW="425" imgH="424" progId="TCLayout.ActiveDocument.1">
                  <p:embed/>
                </p:oleObj>
              </mc:Choice>
              <mc:Fallback>
                <p:oleObj name="think-cell Slide" r:id="rId9" imgW="425" imgH="424" progId="TCLayout.ActiveDocument.1">
                  <p:embed/>
                  <p:pic>
                    <p:nvPicPr>
                      <p:cNvPr id="5" name="Object 4" hidden="1">
                        <a:extLst>
                          <a:ext uri="{FF2B5EF4-FFF2-40B4-BE49-F238E27FC236}">
                            <a16:creationId xmlns:a16="http://schemas.microsoft.com/office/drawing/2014/main" id="{713F70F1-C59C-4224-88A2-6543BB09BD2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6B91B90-73C8-4704-97A5-9BD7C4457F24}"/>
              </a:ext>
            </a:extLst>
          </p:cNvPr>
          <p:cNvSpPr/>
          <p:nvPr userDrawn="1">
            <p:custDataLst>
              <p:tags r:id="rId5"/>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Tree>
    <p:extLst>
      <p:ext uri="{BB962C8B-B14F-4D97-AF65-F5344CB8AC3E}">
        <p14:creationId xmlns:p14="http://schemas.microsoft.com/office/powerpoint/2010/main" val="13722977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prstGeom prst="rect">
            <a:avLst/>
          </a:prstGeo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0152766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1666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995073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57200"/>
            <a:ext cx="11018520" cy="553998"/>
          </a:xfrm>
          <a:prstGeom prst="rect">
            <a:avLst/>
          </a:prstGeom>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a:prstGeom prst="rect">
            <a:avLst/>
          </a:prstGeo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227014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74B277A1-0F93-4377-B46B-44E9E66445E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Text Box 3" descr="This is a copyright notice that should be included on the final slide.">
            <a:extLst>
              <a:ext uri="{FF2B5EF4-FFF2-40B4-BE49-F238E27FC236}">
                <a16:creationId xmlns:a16="http://schemas.microsoft.com/office/drawing/2014/main" id="{D86E7263-2EE7-4F0B-915E-E531E89B1BDB}"/>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914637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34073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457200"/>
            <a:ext cx="11018520" cy="553998"/>
          </a:xfrm>
          <a:prstGeom prst="rect">
            <a:avLst/>
          </a:prstGeo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a:prstGeom prst="rect">
            <a:avLst/>
          </a:prstGeo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900698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098100"/>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Disability in the Modern Wor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467723-1F79-4942-A4DE-7A958DBECAE8}"/>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a:ext>
            </a:extLst>
          </a:blip>
          <a:srcRect l="-29"/>
          <a:stretch/>
        </p:blipFill>
        <p:spPr>
          <a:xfrm>
            <a:off x="0" y="0"/>
            <a:ext cx="12190270" cy="6882978"/>
          </a:xfrm>
          <a:prstGeom prst="rect">
            <a:avLst/>
          </a:prstGeom>
        </p:spPr>
      </p:pic>
      <p:sp>
        <p:nvSpPr>
          <p:cNvPr id="3" name="Rectangle 2">
            <a:extLst>
              <a:ext uri="{FF2B5EF4-FFF2-40B4-BE49-F238E27FC236}">
                <a16:creationId xmlns:a16="http://schemas.microsoft.com/office/drawing/2014/main" id="{B15421F1-5462-4A8A-8F6A-BEFC3E8471AC}"/>
              </a:ext>
              <a:ext uri="{C183D7F6-B498-43B3-948B-1728B52AA6E4}">
                <adec:decorative xmlns:adec="http://schemas.microsoft.com/office/drawing/2017/decorative" val="1"/>
              </a:ext>
            </a:extLst>
          </p:cNvPr>
          <p:cNvSpPr/>
          <p:nvPr/>
        </p:nvSpPr>
        <p:spPr bwMode="auto">
          <a:xfrm>
            <a:off x="-2094" y="0"/>
            <a:ext cx="12190272" cy="6882978"/>
          </a:xfrm>
          <a:prstGeom prst="rect">
            <a:avLst/>
          </a:prstGeom>
          <a:solidFill>
            <a:srgbClr val="00000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9B1EC653-4AE2-46DE-B943-C4145560F478}"/>
              </a:ext>
              <a:ext uri="{C183D7F6-B498-43B3-948B-1728B52AA6E4}">
                <adec:decorative xmlns:adec="http://schemas.microsoft.com/office/drawing/2017/decorative" val="1"/>
              </a:ext>
            </a:extLst>
          </p:cNvPr>
          <p:cNvSpPr/>
          <p:nvPr/>
        </p:nvSpPr>
        <p:spPr bwMode="auto">
          <a:xfrm>
            <a:off x="10068113" y="412235"/>
            <a:ext cx="2124250" cy="4157360"/>
          </a:xfrm>
          <a:custGeom>
            <a:avLst/>
            <a:gdLst>
              <a:gd name="connsiteX0" fmla="*/ 2124546 w 2124552"/>
              <a:gd name="connsiteY0" fmla="*/ 0 h 4309204"/>
              <a:gd name="connsiteX1" fmla="*/ 2120341 w 2124552"/>
              <a:gd name="connsiteY1" fmla="*/ 3735089 h 4309204"/>
              <a:gd name="connsiteX2" fmla="*/ 2120113 w 2124552"/>
              <a:gd name="connsiteY2" fmla="*/ 3963333 h 4309204"/>
              <a:gd name="connsiteX3" fmla="*/ 61596 w 2124552"/>
              <a:gd name="connsiteY3" fmla="*/ 4157950 h 4309204"/>
              <a:gd name="connsiteX4" fmla="*/ 66876 w 2124552"/>
              <a:gd name="connsiteY4" fmla="*/ 4184105 h 4309204"/>
              <a:gd name="connsiteX5" fmla="*/ 43140 w 2124552"/>
              <a:gd name="connsiteY5" fmla="*/ 4301675 h 4309204"/>
              <a:gd name="connsiteX6" fmla="*/ 39053 w 2124552"/>
              <a:gd name="connsiteY6" fmla="*/ 4309204 h 4309204"/>
              <a:gd name="connsiteX7" fmla="*/ 52064 w 2124552"/>
              <a:gd name="connsiteY7" fmla="*/ 4267289 h 4309204"/>
              <a:gd name="connsiteX8" fmla="*/ 58201 w 2124552"/>
              <a:gd name="connsiteY8" fmla="*/ 4206416 h 4309204"/>
              <a:gd name="connsiteX9" fmla="*/ 6616 w 2124552"/>
              <a:gd name="connsiteY9" fmla="*/ 4037540 h 4309204"/>
              <a:gd name="connsiteX10" fmla="*/ 0 w 2124552"/>
              <a:gd name="connsiteY10" fmla="*/ 4029521 h 4309204"/>
              <a:gd name="connsiteX11" fmla="*/ 2124546 w 2124552"/>
              <a:gd name="connsiteY11" fmla="*/ 0 h 4309204"/>
              <a:gd name="connsiteX0" fmla="*/ 2124546 w 2124552"/>
              <a:gd name="connsiteY0" fmla="*/ 0 h 4301675"/>
              <a:gd name="connsiteX1" fmla="*/ 2120341 w 2124552"/>
              <a:gd name="connsiteY1" fmla="*/ 3735089 h 4301675"/>
              <a:gd name="connsiteX2" fmla="*/ 2120113 w 2124552"/>
              <a:gd name="connsiteY2" fmla="*/ 3963333 h 4301675"/>
              <a:gd name="connsiteX3" fmla="*/ 61596 w 2124552"/>
              <a:gd name="connsiteY3" fmla="*/ 4157950 h 4301675"/>
              <a:gd name="connsiteX4" fmla="*/ 66876 w 2124552"/>
              <a:gd name="connsiteY4" fmla="*/ 4184105 h 4301675"/>
              <a:gd name="connsiteX5" fmla="*/ 43140 w 2124552"/>
              <a:gd name="connsiteY5" fmla="*/ 4301675 h 4301675"/>
              <a:gd name="connsiteX6" fmla="*/ 52064 w 2124552"/>
              <a:gd name="connsiteY6" fmla="*/ 4267289 h 4301675"/>
              <a:gd name="connsiteX7" fmla="*/ 58201 w 2124552"/>
              <a:gd name="connsiteY7" fmla="*/ 4206416 h 4301675"/>
              <a:gd name="connsiteX8" fmla="*/ 6616 w 2124552"/>
              <a:gd name="connsiteY8" fmla="*/ 4037540 h 4301675"/>
              <a:gd name="connsiteX9" fmla="*/ 0 w 2124552"/>
              <a:gd name="connsiteY9" fmla="*/ 4029521 h 4301675"/>
              <a:gd name="connsiteX10" fmla="*/ 2124546 w 2124552"/>
              <a:gd name="connsiteY10" fmla="*/ 0 h 4301675"/>
              <a:gd name="connsiteX0" fmla="*/ 2124546 w 2124552"/>
              <a:gd name="connsiteY0" fmla="*/ 0 h 4267289"/>
              <a:gd name="connsiteX1" fmla="*/ 2120341 w 2124552"/>
              <a:gd name="connsiteY1" fmla="*/ 3735089 h 4267289"/>
              <a:gd name="connsiteX2" fmla="*/ 2120113 w 2124552"/>
              <a:gd name="connsiteY2" fmla="*/ 3963333 h 4267289"/>
              <a:gd name="connsiteX3" fmla="*/ 61596 w 2124552"/>
              <a:gd name="connsiteY3" fmla="*/ 4157950 h 4267289"/>
              <a:gd name="connsiteX4" fmla="*/ 66876 w 2124552"/>
              <a:gd name="connsiteY4" fmla="*/ 4184105 h 4267289"/>
              <a:gd name="connsiteX5" fmla="*/ 52064 w 2124552"/>
              <a:gd name="connsiteY5" fmla="*/ 4267289 h 4267289"/>
              <a:gd name="connsiteX6" fmla="*/ 58201 w 2124552"/>
              <a:gd name="connsiteY6" fmla="*/ 4206416 h 4267289"/>
              <a:gd name="connsiteX7" fmla="*/ 6616 w 2124552"/>
              <a:gd name="connsiteY7" fmla="*/ 4037540 h 4267289"/>
              <a:gd name="connsiteX8" fmla="*/ 0 w 2124552"/>
              <a:gd name="connsiteY8" fmla="*/ 4029521 h 4267289"/>
              <a:gd name="connsiteX9" fmla="*/ 2124546 w 2124552"/>
              <a:gd name="connsiteY9" fmla="*/ 0 h 4267289"/>
              <a:gd name="connsiteX0" fmla="*/ 2124546 w 2124552"/>
              <a:gd name="connsiteY0" fmla="*/ 0 h 4214400"/>
              <a:gd name="connsiteX1" fmla="*/ 2120341 w 2124552"/>
              <a:gd name="connsiteY1" fmla="*/ 3735089 h 4214400"/>
              <a:gd name="connsiteX2" fmla="*/ 2120113 w 2124552"/>
              <a:gd name="connsiteY2" fmla="*/ 3963333 h 4214400"/>
              <a:gd name="connsiteX3" fmla="*/ 61596 w 2124552"/>
              <a:gd name="connsiteY3" fmla="*/ 4157950 h 4214400"/>
              <a:gd name="connsiteX4" fmla="*/ 66876 w 2124552"/>
              <a:gd name="connsiteY4" fmla="*/ 4184105 h 4214400"/>
              <a:gd name="connsiteX5" fmla="*/ 58201 w 2124552"/>
              <a:gd name="connsiteY5" fmla="*/ 4206416 h 4214400"/>
              <a:gd name="connsiteX6" fmla="*/ 6616 w 2124552"/>
              <a:gd name="connsiteY6" fmla="*/ 4037540 h 4214400"/>
              <a:gd name="connsiteX7" fmla="*/ 0 w 2124552"/>
              <a:gd name="connsiteY7" fmla="*/ 4029521 h 4214400"/>
              <a:gd name="connsiteX8" fmla="*/ 2124546 w 2124552"/>
              <a:gd name="connsiteY8" fmla="*/ 0 h 4214400"/>
              <a:gd name="connsiteX0" fmla="*/ 2124546 w 2124552"/>
              <a:gd name="connsiteY0" fmla="*/ 0 h 4184105"/>
              <a:gd name="connsiteX1" fmla="*/ 2120341 w 2124552"/>
              <a:gd name="connsiteY1" fmla="*/ 3735089 h 4184105"/>
              <a:gd name="connsiteX2" fmla="*/ 2120113 w 2124552"/>
              <a:gd name="connsiteY2" fmla="*/ 3963333 h 4184105"/>
              <a:gd name="connsiteX3" fmla="*/ 61596 w 2124552"/>
              <a:gd name="connsiteY3" fmla="*/ 4157950 h 4184105"/>
              <a:gd name="connsiteX4" fmla="*/ 66876 w 2124552"/>
              <a:gd name="connsiteY4" fmla="*/ 4184105 h 4184105"/>
              <a:gd name="connsiteX5" fmla="*/ 6616 w 2124552"/>
              <a:gd name="connsiteY5" fmla="*/ 4037540 h 4184105"/>
              <a:gd name="connsiteX6" fmla="*/ 0 w 2124552"/>
              <a:gd name="connsiteY6" fmla="*/ 4029521 h 4184105"/>
              <a:gd name="connsiteX7" fmla="*/ 2124546 w 2124552"/>
              <a:gd name="connsiteY7" fmla="*/ 0 h 4184105"/>
              <a:gd name="connsiteX0" fmla="*/ 2124546 w 2124552"/>
              <a:gd name="connsiteY0" fmla="*/ 0 h 4157950"/>
              <a:gd name="connsiteX1" fmla="*/ 2120341 w 2124552"/>
              <a:gd name="connsiteY1" fmla="*/ 3735089 h 4157950"/>
              <a:gd name="connsiteX2" fmla="*/ 2120113 w 2124552"/>
              <a:gd name="connsiteY2" fmla="*/ 3963333 h 4157950"/>
              <a:gd name="connsiteX3" fmla="*/ 61596 w 2124552"/>
              <a:gd name="connsiteY3" fmla="*/ 4157950 h 4157950"/>
              <a:gd name="connsiteX4" fmla="*/ 6616 w 2124552"/>
              <a:gd name="connsiteY4" fmla="*/ 4037540 h 4157950"/>
              <a:gd name="connsiteX5" fmla="*/ 0 w 2124552"/>
              <a:gd name="connsiteY5" fmla="*/ 4029521 h 4157950"/>
              <a:gd name="connsiteX6" fmla="*/ 2124546 w 2124552"/>
              <a:gd name="connsiteY6" fmla="*/ 0 h 415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552" h="4157950">
                <a:moveTo>
                  <a:pt x="2124546" y="0"/>
                </a:moveTo>
                <a:cubicBezTo>
                  <a:pt x="2124712" y="1431986"/>
                  <a:pt x="2121742" y="2490059"/>
                  <a:pt x="2120341" y="3735089"/>
                </a:cubicBezTo>
                <a:lnTo>
                  <a:pt x="2120113" y="3963333"/>
                </a:lnTo>
                <a:lnTo>
                  <a:pt x="61596" y="4157950"/>
                </a:lnTo>
                <a:lnTo>
                  <a:pt x="6616" y="4037540"/>
                </a:lnTo>
                <a:lnTo>
                  <a:pt x="0" y="4029521"/>
                </a:lnTo>
                <a:lnTo>
                  <a:pt x="2124546" y="0"/>
                </a:lnTo>
                <a:close/>
              </a:path>
            </a:pathLst>
          </a:custGeom>
          <a:solidFill>
            <a:schemeClr val="bg1">
              <a:alpha val="35000"/>
            </a:schemeClr>
          </a:solidFill>
          <a:ln>
            <a:solidFill>
              <a:schemeClr val="bg2"/>
            </a:solid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2BC8296-800A-4D1C-9495-65AB2F84627E}"/>
              </a:ext>
              <a:ext uri="{C183D7F6-B498-43B3-948B-1728B52AA6E4}">
                <adec:decorative xmlns:adec="http://schemas.microsoft.com/office/drawing/2017/decorative" val="1"/>
              </a:ext>
            </a:extLst>
          </p:cNvPr>
          <p:cNvGrpSpPr/>
          <p:nvPr/>
        </p:nvGrpSpPr>
        <p:grpSpPr>
          <a:xfrm>
            <a:off x="9962790" y="959275"/>
            <a:ext cx="1848156" cy="3465217"/>
            <a:chOff x="10172391" y="1176480"/>
            <a:chExt cx="1848418" cy="3465709"/>
          </a:xfrm>
        </p:grpSpPr>
        <p:sp>
          <p:nvSpPr>
            <p:cNvPr id="6" name="Freeform 102">
              <a:extLst>
                <a:ext uri="{FF2B5EF4-FFF2-40B4-BE49-F238E27FC236}">
                  <a16:creationId xmlns:a16="http://schemas.microsoft.com/office/drawing/2014/main" id="{9E514DAB-D3EB-4841-BCB8-C608185C21A6}"/>
                </a:ext>
              </a:extLst>
            </p:cNvPr>
            <p:cNvSpPr/>
            <p:nvPr/>
          </p:nvSpPr>
          <p:spPr bwMode="auto">
            <a:xfrm flipV="1">
              <a:off x="10236541" y="1176480"/>
              <a:ext cx="1784268" cy="3418002"/>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103">
              <a:extLst>
                <a:ext uri="{FF2B5EF4-FFF2-40B4-BE49-F238E27FC236}">
                  <a16:creationId xmlns:a16="http://schemas.microsoft.com/office/drawing/2014/main" id="{04026D58-A3E2-40D4-BD3D-49F6BEEA9AAD}"/>
                </a:ext>
              </a:extLst>
            </p:cNvPr>
            <p:cNvSpPr/>
            <p:nvPr/>
          </p:nvSpPr>
          <p:spPr bwMode="auto">
            <a:xfrm flipV="1">
              <a:off x="10172391" y="1501713"/>
              <a:ext cx="1593735" cy="3053011"/>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104">
              <a:extLst>
                <a:ext uri="{FF2B5EF4-FFF2-40B4-BE49-F238E27FC236}">
                  <a16:creationId xmlns:a16="http://schemas.microsoft.com/office/drawing/2014/main" id="{CD8009B3-4357-45C7-BB0E-F8B0B7606683}"/>
                </a:ext>
              </a:extLst>
            </p:cNvPr>
            <p:cNvSpPr/>
            <p:nvPr/>
          </p:nvSpPr>
          <p:spPr bwMode="auto">
            <a:xfrm flipV="1">
              <a:off x="10283708" y="1411745"/>
              <a:ext cx="1700922" cy="3230444"/>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9" name="Straight Connector 8">
            <a:extLst>
              <a:ext uri="{FF2B5EF4-FFF2-40B4-BE49-F238E27FC236}">
                <a16:creationId xmlns:a16="http://schemas.microsoft.com/office/drawing/2014/main" id="{0A6E9DAA-C74D-4FEC-B6E1-AE64EC93C27C}"/>
              </a:ext>
              <a:ext uri="{C183D7F6-B498-43B3-948B-1728B52AA6E4}">
                <adec:decorative xmlns:adec="http://schemas.microsoft.com/office/drawing/2017/decorative" val="1"/>
              </a:ext>
            </a:extLst>
          </p:cNvPr>
          <p:cNvCxnSpPr>
            <a:cxnSpLocks/>
          </p:cNvCxnSpPr>
          <p:nvPr/>
        </p:nvCxnSpPr>
        <p:spPr>
          <a:xfrm>
            <a:off x="9828706" y="2343351"/>
            <a:ext cx="0" cy="1944348"/>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B1E0C74E-95F3-4A12-931C-180E49D46DCE}"/>
              </a:ext>
              <a:ext uri="{C183D7F6-B498-43B3-948B-1728B52AA6E4}">
                <adec:decorative xmlns:adec="http://schemas.microsoft.com/office/drawing/2017/decorative" val="1"/>
              </a:ext>
            </a:extLst>
          </p:cNvPr>
          <p:cNvSpPr/>
          <p:nvPr/>
        </p:nvSpPr>
        <p:spPr bwMode="auto">
          <a:xfrm>
            <a:off x="9733805" y="22582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4E52A952-F7B1-40D4-95BB-E0367BAB0B60}"/>
              </a:ext>
              <a:ext uri="{C183D7F6-B498-43B3-948B-1728B52AA6E4}">
                <adec:decorative xmlns:adec="http://schemas.microsoft.com/office/drawing/2017/decorative" val="1"/>
              </a:ext>
            </a:extLst>
          </p:cNvPr>
          <p:cNvSpPr/>
          <p:nvPr/>
        </p:nvSpPr>
        <p:spPr bwMode="auto">
          <a:xfrm>
            <a:off x="9733805" y="282158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96067DFC-763A-475B-B4D2-37B0B50D0436}"/>
              </a:ext>
              <a:ext uri="{C183D7F6-B498-43B3-948B-1728B52AA6E4}">
                <adec:decorative xmlns:adec="http://schemas.microsoft.com/office/drawing/2017/decorative" val="1"/>
              </a:ext>
            </a:extLst>
          </p:cNvPr>
          <p:cNvSpPr/>
          <p:nvPr/>
        </p:nvSpPr>
        <p:spPr bwMode="auto">
          <a:xfrm>
            <a:off x="9733805" y="340595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078690A5-014C-4158-85D0-D6438120566D}"/>
              </a:ext>
              <a:ext uri="{C183D7F6-B498-43B3-948B-1728B52AA6E4}">
                <adec:decorative xmlns:adec="http://schemas.microsoft.com/office/drawing/2017/decorative" val="1"/>
              </a:ext>
            </a:extLst>
          </p:cNvPr>
          <p:cNvSpPr/>
          <p:nvPr/>
        </p:nvSpPr>
        <p:spPr bwMode="auto">
          <a:xfrm>
            <a:off x="655690" y="4380642"/>
            <a:ext cx="11567347" cy="1125538"/>
          </a:xfrm>
          <a:custGeom>
            <a:avLst/>
            <a:gdLst>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906407 h 1125697"/>
              <a:gd name="connsiteX5" fmla="*/ 9190469 w 11568987"/>
              <a:gd name="connsiteY5" fmla="*/ 1105538 h 1125697"/>
              <a:gd name="connsiteX6" fmla="*/ 42333 w 11568987"/>
              <a:gd name="connsiteY6" fmla="*/ 1125697 h 1125697"/>
              <a:gd name="connsiteX7" fmla="*/ 0 w 11568987"/>
              <a:gd name="connsiteY7" fmla="*/ 1091576 h 1125697"/>
              <a:gd name="connsiteX8" fmla="*/ 8907725 w 11568987"/>
              <a:gd name="connsiteY8" fmla="*/ 267416 h 1125697"/>
              <a:gd name="connsiteX9" fmla="*/ 8926633 w 11568987"/>
              <a:gd name="connsiteY9" fmla="*/ 361073 h 1125697"/>
              <a:gd name="connsiteX10" fmla="*/ 9115124 w 11568987"/>
              <a:gd name="connsiteY10" fmla="*/ 531970 h 1125697"/>
              <a:gd name="connsiteX11" fmla="*/ 9190469 w 11568987"/>
              <a:gd name="connsiteY11" fmla="*/ 543361 h 1125697"/>
              <a:gd name="connsiteX12" fmla="*/ 9190469 w 11568987"/>
              <a:gd name="connsiteY12" fmla="*/ 716581 h 1125697"/>
              <a:gd name="connsiteX13" fmla="*/ 9191698 w 11568987"/>
              <a:gd name="connsiteY13" fmla="*/ 716468 h 1125697"/>
              <a:gd name="connsiteX14" fmla="*/ 9191698 w 11568987"/>
              <a:gd name="connsiteY14" fmla="*/ 521467 h 1125697"/>
              <a:gd name="connsiteX15" fmla="*/ 9209265 w 11568987"/>
              <a:gd name="connsiteY15" fmla="*/ 523238 h 1125697"/>
              <a:gd name="connsiteX16" fmla="*/ 9511311 w 11568987"/>
              <a:gd name="connsiteY16" fmla="*/ 221192 h 1125697"/>
              <a:gd name="connsiteX17" fmla="*/ 9506031 w 11568987"/>
              <a:gd name="connsiteY17" fmla="*/ 195037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1105538 h 1125697"/>
              <a:gd name="connsiteX5" fmla="*/ 42333 w 11568987"/>
              <a:gd name="connsiteY5" fmla="*/ 1125697 h 1125697"/>
              <a:gd name="connsiteX6" fmla="*/ 0 w 11568987"/>
              <a:gd name="connsiteY6" fmla="*/ 1091576 h 1125697"/>
              <a:gd name="connsiteX7" fmla="*/ 8907725 w 11568987"/>
              <a:gd name="connsiteY7" fmla="*/ 267416 h 1125697"/>
              <a:gd name="connsiteX8" fmla="*/ 8926633 w 11568987"/>
              <a:gd name="connsiteY8" fmla="*/ 361073 h 1125697"/>
              <a:gd name="connsiteX9" fmla="*/ 9115124 w 11568987"/>
              <a:gd name="connsiteY9" fmla="*/ 531970 h 1125697"/>
              <a:gd name="connsiteX10" fmla="*/ 9190469 w 11568987"/>
              <a:gd name="connsiteY10" fmla="*/ 543361 h 1125697"/>
              <a:gd name="connsiteX11" fmla="*/ 9190469 w 11568987"/>
              <a:gd name="connsiteY11" fmla="*/ 716581 h 1125697"/>
              <a:gd name="connsiteX12" fmla="*/ 9191698 w 11568987"/>
              <a:gd name="connsiteY12" fmla="*/ 716468 h 1125697"/>
              <a:gd name="connsiteX13" fmla="*/ 9191698 w 11568987"/>
              <a:gd name="connsiteY13" fmla="*/ 521467 h 1125697"/>
              <a:gd name="connsiteX14" fmla="*/ 9209265 w 11568987"/>
              <a:gd name="connsiteY14" fmla="*/ 523238 h 1125697"/>
              <a:gd name="connsiteX15" fmla="*/ 9511311 w 11568987"/>
              <a:gd name="connsiteY15" fmla="*/ 221192 h 1125697"/>
              <a:gd name="connsiteX16" fmla="*/ 9506031 w 11568987"/>
              <a:gd name="connsiteY16" fmla="*/ 195037 h 1125697"/>
              <a:gd name="connsiteX17" fmla="*/ 11568987 w 11568987"/>
              <a:gd name="connsiteY17"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0469 w 11568987"/>
              <a:gd name="connsiteY3" fmla="*/ 1105538 h 1125697"/>
              <a:gd name="connsiteX4" fmla="*/ 42333 w 11568987"/>
              <a:gd name="connsiteY4" fmla="*/ 1125697 h 1125697"/>
              <a:gd name="connsiteX5" fmla="*/ 0 w 11568987"/>
              <a:gd name="connsiteY5" fmla="*/ 1091576 h 1125697"/>
              <a:gd name="connsiteX6" fmla="*/ 8907725 w 11568987"/>
              <a:gd name="connsiteY6" fmla="*/ 267416 h 1125697"/>
              <a:gd name="connsiteX7" fmla="*/ 8926633 w 11568987"/>
              <a:gd name="connsiteY7" fmla="*/ 361073 h 1125697"/>
              <a:gd name="connsiteX8" fmla="*/ 9115124 w 11568987"/>
              <a:gd name="connsiteY8" fmla="*/ 531970 h 1125697"/>
              <a:gd name="connsiteX9" fmla="*/ 9190469 w 11568987"/>
              <a:gd name="connsiteY9" fmla="*/ 543361 h 1125697"/>
              <a:gd name="connsiteX10" fmla="*/ 9190469 w 11568987"/>
              <a:gd name="connsiteY10" fmla="*/ 716581 h 1125697"/>
              <a:gd name="connsiteX11" fmla="*/ 9191698 w 11568987"/>
              <a:gd name="connsiteY11" fmla="*/ 716468 h 1125697"/>
              <a:gd name="connsiteX12" fmla="*/ 9191698 w 11568987"/>
              <a:gd name="connsiteY12" fmla="*/ 521467 h 1125697"/>
              <a:gd name="connsiteX13" fmla="*/ 9209265 w 11568987"/>
              <a:gd name="connsiteY13" fmla="*/ 523238 h 1125697"/>
              <a:gd name="connsiteX14" fmla="*/ 9511311 w 11568987"/>
              <a:gd name="connsiteY14" fmla="*/ 221192 h 1125697"/>
              <a:gd name="connsiteX15" fmla="*/ 9506031 w 11568987"/>
              <a:gd name="connsiteY15" fmla="*/ 195037 h 1125697"/>
              <a:gd name="connsiteX16" fmla="*/ 11568987 w 11568987"/>
              <a:gd name="connsiteY16"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42333 w 11568987"/>
              <a:gd name="connsiteY3" fmla="*/ 1125697 h 1125697"/>
              <a:gd name="connsiteX4" fmla="*/ 0 w 11568987"/>
              <a:gd name="connsiteY4" fmla="*/ 1091576 h 1125697"/>
              <a:gd name="connsiteX5" fmla="*/ 8907725 w 11568987"/>
              <a:gd name="connsiteY5" fmla="*/ 267416 h 1125697"/>
              <a:gd name="connsiteX6" fmla="*/ 8926633 w 11568987"/>
              <a:gd name="connsiteY6" fmla="*/ 361073 h 1125697"/>
              <a:gd name="connsiteX7" fmla="*/ 9115124 w 11568987"/>
              <a:gd name="connsiteY7" fmla="*/ 531970 h 1125697"/>
              <a:gd name="connsiteX8" fmla="*/ 9190469 w 11568987"/>
              <a:gd name="connsiteY8" fmla="*/ 543361 h 1125697"/>
              <a:gd name="connsiteX9" fmla="*/ 9190469 w 11568987"/>
              <a:gd name="connsiteY9" fmla="*/ 716581 h 1125697"/>
              <a:gd name="connsiteX10" fmla="*/ 9191698 w 11568987"/>
              <a:gd name="connsiteY10" fmla="*/ 716468 h 1125697"/>
              <a:gd name="connsiteX11" fmla="*/ 9191698 w 11568987"/>
              <a:gd name="connsiteY11" fmla="*/ 521467 h 1125697"/>
              <a:gd name="connsiteX12" fmla="*/ 9209265 w 11568987"/>
              <a:gd name="connsiteY12" fmla="*/ 523238 h 1125697"/>
              <a:gd name="connsiteX13" fmla="*/ 9511311 w 11568987"/>
              <a:gd name="connsiteY13" fmla="*/ 221192 h 1125697"/>
              <a:gd name="connsiteX14" fmla="*/ 9506031 w 11568987"/>
              <a:gd name="connsiteY14" fmla="*/ 195037 h 1125697"/>
              <a:gd name="connsiteX15" fmla="*/ 11568987 w 11568987"/>
              <a:gd name="connsiteY15"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716468 h 1125697"/>
              <a:gd name="connsiteX10" fmla="*/ 9191698 w 11568987"/>
              <a:gd name="connsiteY10" fmla="*/ 521467 h 1125697"/>
              <a:gd name="connsiteX11" fmla="*/ 9209265 w 11568987"/>
              <a:gd name="connsiteY11" fmla="*/ 523238 h 1125697"/>
              <a:gd name="connsiteX12" fmla="*/ 9511311 w 11568987"/>
              <a:gd name="connsiteY12" fmla="*/ 221192 h 1125697"/>
              <a:gd name="connsiteX13" fmla="*/ 9506031 w 11568987"/>
              <a:gd name="connsiteY13" fmla="*/ 195037 h 1125697"/>
              <a:gd name="connsiteX14" fmla="*/ 11568987 w 11568987"/>
              <a:gd name="connsiteY14"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521467 h 1125697"/>
              <a:gd name="connsiteX10" fmla="*/ 9209265 w 11568987"/>
              <a:gd name="connsiteY10" fmla="*/ 523238 h 1125697"/>
              <a:gd name="connsiteX11" fmla="*/ 9511311 w 11568987"/>
              <a:gd name="connsiteY11" fmla="*/ 221192 h 1125697"/>
              <a:gd name="connsiteX12" fmla="*/ 9506031 w 11568987"/>
              <a:gd name="connsiteY12" fmla="*/ 195037 h 1125697"/>
              <a:gd name="connsiteX13" fmla="*/ 11568987 w 11568987"/>
              <a:gd name="connsiteY13"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1698 w 11568987"/>
              <a:gd name="connsiteY8" fmla="*/ 521467 h 1125697"/>
              <a:gd name="connsiteX9" fmla="*/ 9209265 w 11568987"/>
              <a:gd name="connsiteY9" fmla="*/ 523238 h 1125697"/>
              <a:gd name="connsiteX10" fmla="*/ 9511311 w 11568987"/>
              <a:gd name="connsiteY10" fmla="*/ 221192 h 1125697"/>
              <a:gd name="connsiteX11" fmla="*/ 9506031 w 11568987"/>
              <a:gd name="connsiteY11" fmla="*/ 195037 h 1125697"/>
              <a:gd name="connsiteX12" fmla="*/ 11568987 w 11568987"/>
              <a:gd name="connsiteY12" fmla="*/ 0 h 11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8987" h="1125697">
                <a:moveTo>
                  <a:pt x="11568987" y="0"/>
                </a:moveTo>
                <a:lnTo>
                  <a:pt x="11568987" y="1105538"/>
                </a:lnTo>
                <a:lnTo>
                  <a:pt x="42333" y="1125697"/>
                </a:lnTo>
                <a:lnTo>
                  <a:pt x="0" y="1091576"/>
                </a:lnTo>
                <a:lnTo>
                  <a:pt x="8907725" y="267416"/>
                </a:lnTo>
                <a:lnTo>
                  <a:pt x="8926633" y="361073"/>
                </a:lnTo>
                <a:cubicBezTo>
                  <a:pt x="8961023" y="442380"/>
                  <a:pt x="9030002" y="505494"/>
                  <a:pt x="9115124" y="531970"/>
                </a:cubicBezTo>
                <a:lnTo>
                  <a:pt x="9190469" y="543361"/>
                </a:lnTo>
                <a:cubicBezTo>
                  <a:pt x="9190879" y="536063"/>
                  <a:pt x="9191288" y="528765"/>
                  <a:pt x="9191698" y="521467"/>
                </a:cubicBezTo>
                <a:lnTo>
                  <a:pt x="9209265" y="523238"/>
                </a:lnTo>
                <a:cubicBezTo>
                  <a:pt x="9376080" y="523238"/>
                  <a:pt x="9511311" y="388007"/>
                  <a:pt x="9511311" y="221192"/>
                </a:cubicBezTo>
                <a:lnTo>
                  <a:pt x="9506031" y="195037"/>
                </a:lnTo>
                <a:lnTo>
                  <a:pt x="11568987" y="0"/>
                </a:lnTo>
                <a:close/>
              </a:path>
            </a:pathLst>
          </a:custGeom>
          <a:solidFill>
            <a:schemeClr val="bg1">
              <a:alpha val="35000"/>
            </a:schemeClr>
          </a:solidFill>
          <a:ln>
            <a:no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CB7113C0-5254-448D-B4B3-067558DACE5F}"/>
              </a:ext>
              <a:ext uri="{C183D7F6-B498-43B3-948B-1728B52AA6E4}">
                <adec:decorative xmlns:adec="http://schemas.microsoft.com/office/drawing/2017/decorative" val="1"/>
              </a:ext>
            </a:extLst>
          </p:cNvPr>
          <p:cNvSpPr/>
          <p:nvPr/>
        </p:nvSpPr>
        <p:spPr bwMode="auto">
          <a:xfrm>
            <a:off x="-13990" y="5485143"/>
            <a:ext cx="12190271" cy="139190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99AC0CA1-E339-4C6A-8E4A-873C4AC8361A}"/>
              </a:ext>
              <a:ext uri="{C183D7F6-B498-43B3-948B-1728B52AA6E4}">
                <adec:decorative xmlns:adec="http://schemas.microsoft.com/office/drawing/2017/decorative" val="1"/>
              </a:ext>
            </a:extLst>
          </p:cNvPr>
          <p:cNvCxnSpPr/>
          <p:nvPr/>
        </p:nvCxnSpPr>
        <p:spPr>
          <a:xfrm flipV="1">
            <a:off x="865" y="5467208"/>
            <a:ext cx="11922963" cy="13222"/>
          </a:xfrm>
          <a:prstGeom prst="straightConnector1">
            <a:avLst/>
          </a:prstGeom>
          <a:ln w="19050">
            <a:solidFill>
              <a:schemeClr val="bg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D208F1AB-1DF0-4EEA-A1B7-B3AC6A509DFB}"/>
              </a:ext>
              <a:ext uri="{C183D7F6-B498-43B3-948B-1728B52AA6E4}">
                <adec:decorative xmlns:adec="http://schemas.microsoft.com/office/drawing/2017/decorative" val="1"/>
              </a:ext>
            </a:extLst>
          </p:cNvPr>
          <p:cNvSpPr/>
          <p:nvPr/>
        </p:nvSpPr>
        <p:spPr bwMode="auto">
          <a:xfrm>
            <a:off x="9733805"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8F3E819F-7E92-4E75-8ADE-B602FEB3A69C}"/>
              </a:ext>
              <a:ext uri="{C183D7F6-B498-43B3-948B-1728B52AA6E4}">
                <adec:decorative xmlns:adec="http://schemas.microsoft.com/office/drawing/2017/decorative" val="1"/>
              </a:ext>
            </a:extLst>
          </p:cNvPr>
          <p:cNvCxnSpPr/>
          <p:nvPr/>
        </p:nvCxnSpPr>
        <p:spPr>
          <a:xfrm>
            <a:off x="2685497" y="5657899"/>
            <a:ext cx="0" cy="365708"/>
          </a:xfrm>
          <a:prstGeom prst="line">
            <a:avLst/>
          </a:prstGeom>
          <a:noFill/>
          <a:ln w="19050" cap="flat" cmpd="sng" algn="ctr">
            <a:solidFill>
              <a:schemeClr val="bg2"/>
            </a:solidFill>
            <a:prstDash val="solid"/>
            <a:headEnd type="none"/>
            <a:tailEnd type="none"/>
          </a:ln>
          <a:effectLst/>
        </p:spPr>
      </p:cxnSp>
      <p:cxnSp>
        <p:nvCxnSpPr>
          <p:cNvPr id="18" name="Straight Connector 17">
            <a:extLst>
              <a:ext uri="{FF2B5EF4-FFF2-40B4-BE49-F238E27FC236}">
                <a16:creationId xmlns:a16="http://schemas.microsoft.com/office/drawing/2014/main" id="{C8D6B3D4-6C58-4573-A957-44DE42705BF2}"/>
              </a:ext>
              <a:ext uri="{C183D7F6-B498-43B3-948B-1728B52AA6E4}">
                <adec:decorative xmlns:adec="http://schemas.microsoft.com/office/drawing/2017/decorative" val="1"/>
              </a:ext>
            </a:extLst>
          </p:cNvPr>
          <p:cNvCxnSpPr/>
          <p:nvPr/>
        </p:nvCxnSpPr>
        <p:spPr>
          <a:xfrm>
            <a:off x="9831411" y="5657899"/>
            <a:ext cx="0" cy="365708"/>
          </a:xfrm>
          <a:prstGeom prst="line">
            <a:avLst/>
          </a:prstGeom>
          <a:noFill/>
          <a:ln w="19050" cap="flat" cmpd="sng" algn="ctr">
            <a:solidFill>
              <a:schemeClr val="bg2"/>
            </a:solidFill>
            <a:prstDash val="solid"/>
            <a:headEnd type="none"/>
            <a:tailEnd type="none"/>
          </a:ln>
          <a:effectLst/>
        </p:spPr>
      </p:cxnSp>
      <p:sp>
        <p:nvSpPr>
          <p:cNvPr id="19" name="Oval 18">
            <a:extLst>
              <a:ext uri="{FF2B5EF4-FFF2-40B4-BE49-F238E27FC236}">
                <a16:creationId xmlns:a16="http://schemas.microsoft.com/office/drawing/2014/main" id="{6ABBC32E-233A-4AAF-8C23-24093848D82D}"/>
              </a:ext>
              <a:ext uri="{C183D7F6-B498-43B3-948B-1728B52AA6E4}">
                <adec:decorative xmlns:adec="http://schemas.microsoft.com/office/drawing/2017/decorative" val="1"/>
              </a:ext>
            </a:extLst>
          </p:cNvPr>
          <p:cNvSpPr/>
          <p:nvPr/>
        </p:nvSpPr>
        <p:spPr bwMode="auto">
          <a:xfrm>
            <a:off x="2586824"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9CD2C44-267E-41EE-BD98-0FC88AC83D17}"/>
              </a:ext>
              <a:ext uri="{C183D7F6-B498-43B3-948B-1728B52AA6E4}">
                <adec:decorative xmlns:adec="http://schemas.microsoft.com/office/drawing/2017/decorative" val="1"/>
              </a:ext>
            </a:extLst>
          </p:cNvPr>
          <p:cNvCxnSpPr/>
          <p:nvPr/>
        </p:nvCxnSpPr>
        <p:spPr>
          <a:xfrm flipV="1">
            <a:off x="583881" y="4632438"/>
            <a:ext cx="8947598" cy="841057"/>
          </a:xfrm>
          <a:prstGeom prst="straightConnector1">
            <a:avLst/>
          </a:prstGeom>
          <a:ln w="1905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6A2523E-DB8F-400E-BE0E-6AD1D98D4623}"/>
              </a:ext>
              <a:ext uri="{C183D7F6-B498-43B3-948B-1728B52AA6E4}">
                <adec:decorative xmlns:adec="http://schemas.microsoft.com/office/drawing/2017/decorative" val="1"/>
              </a:ext>
            </a:extLst>
          </p:cNvPr>
          <p:cNvSpPr/>
          <p:nvPr/>
        </p:nvSpPr>
        <p:spPr bwMode="auto">
          <a:xfrm>
            <a:off x="9529746" y="4304376"/>
            <a:ext cx="604005" cy="604005"/>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14658AA5-3A2F-4634-BDA8-2BEAA95FA277}"/>
              </a:ext>
              <a:ext uri="{C183D7F6-B498-43B3-948B-1728B52AA6E4}">
                <adec:decorative xmlns:adec="http://schemas.microsoft.com/office/drawing/2017/decorative" val="1"/>
              </a:ext>
            </a:extLst>
          </p:cNvPr>
          <p:cNvCxnSpPr/>
          <p:nvPr/>
        </p:nvCxnSpPr>
        <p:spPr>
          <a:xfrm>
            <a:off x="6274913" y="5657899"/>
            <a:ext cx="0" cy="365708"/>
          </a:xfrm>
          <a:prstGeom prst="line">
            <a:avLst/>
          </a:prstGeom>
          <a:noFill/>
          <a:ln w="19050" cap="flat" cmpd="sng" algn="ctr">
            <a:solidFill>
              <a:schemeClr val="bg2"/>
            </a:solidFill>
            <a:prstDash val="solid"/>
            <a:headEnd type="none"/>
            <a:tailEnd type="none"/>
          </a:ln>
          <a:effectLst/>
        </p:spPr>
      </p:cxnSp>
      <p:sp>
        <p:nvSpPr>
          <p:cNvPr id="23" name="Oval 22">
            <a:extLst>
              <a:ext uri="{FF2B5EF4-FFF2-40B4-BE49-F238E27FC236}">
                <a16:creationId xmlns:a16="http://schemas.microsoft.com/office/drawing/2014/main" id="{7633269F-9CFB-4C32-A579-121F1BC7FEE3}"/>
              </a:ext>
              <a:ext uri="{C183D7F6-B498-43B3-948B-1728B52AA6E4}">
                <adec:decorative xmlns:adec="http://schemas.microsoft.com/office/drawing/2017/decorative" val="1"/>
              </a:ext>
            </a:extLst>
          </p:cNvPr>
          <p:cNvSpPr/>
          <p:nvPr/>
        </p:nvSpPr>
        <p:spPr bwMode="auto">
          <a:xfrm>
            <a:off x="6176240"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E6BCF4BD-296B-404E-A0DC-A95DC9E7F5B0}"/>
              </a:ext>
              <a:ext uri="{C183D7F6-B498-43B3-948B-1728B52AA6E4}">
                <adec:decorative xmlns:adec="http://schemas.microsoft.com/office/drawing/2017/decorative" val="1"/>
              </a:ext>
            </a:extLst>
          </p:cNvPr>
          <p:cNvGrpSpPr/>
          <p:nvPr/>
        </p:nvGrpSpPr>
        <p:grpSpPr>
          <a:xfrm>
            <a:off x="9526335" y="4300526"/>
            <a:ext cx="617942" cy="617942"/>
            <a:chOff x="2750671" y="2758885"/>
            <a:chExt cx="617942" cy="617942"/>
          </a:xfrm>
        </p:grpSpPr>
        <p:sp>
          <p:nvSpPr>
            <p:cNvPr id="25" name="Oval 24">
              <a:extLst>
                <a:ext uri="{FF2B5EF4-FFF2-40B4-BE49-F238E27FC236}">
                  <a16:creationId xmlns:a16="http://schemas.microsoft.com/office/drawing/2014/main" id="{DD46AADA-6133-4A00-92E7-D6C9C6CBBADE}"/>
                </a:ext>
              </a:extLst>
            </p:cNvPr>
            <p:cNvSpPr/>
            <p:nvPr/>
          </p:nvSpPr>
          <p:spPr bwMode="auto">
            <a:xfrm>
              <a:off x="2750671" y="2758885"/>
              <a:ext cx="617942" cy="617942"/>
            </a:xfrm>
            <a:prstGeom prst="ellipse">
              <a:avLst/>
            </a:prstGeom>
            <a:solidFill>
              <a:srgbClr val="000C47"/>
            </a:solidFill>
            <a:ln w="539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26" name="Freeform 5">
              <a:extLst>
                <a:ext uri="{FF2B5EF4-FFF2-40B4-BE49-F238E27FC236}">
                  <a16:creationId xmlns:a16="http://schemas.microsoft.com/office/drawing/2014/main" id="{B049B63A-5A58-429F-B2C4-59E4CFDCE2AE}"/>
                </a:ext>
              </a:extLst>
            </p:cNvPr>
            <p:cNvSpPr>
              <a:spLocks/>
            </p:cNvSpPr>
            <p:nvPr/>
          </p:nvSpPr>
          <p:spPr bwMode="auto">
            <a:xfrm>
              <a:off x="3067502" y="2876550"/>
              <a:ext cx="188647" cy="226922"/>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40" y="0"/>
                    <a:pt x="17" y="22"/>
                    <a:pt x="17" y="49"/>
                  </a:cubicBezTo>
                  <a:cubicBezTo>
                    <a:pt x="17" y="71"/>
                    <a:pt x="31" y="89"/>
                    <a:pt x="50" y="96"/>
                  </a:cubicBezTo>
                  <a:cubicBezTo>
                    <a:pt x="22" y="103"/>
                    <a:pt x="0" y="129"/>
                    <a:pt x="0" y="160"/>
                  </a:cubicBezTo>
                  <a:close/>
                </a:path>
              </a:pathLst>
            </a:custGeom>
            <a:solidFill>
              <a:srgbClr val="6C8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7" name="Freeform 6">
              <a:extLst>
                <a:ext uri="{FF2B5EF4-FFF2-40B4-BE49-F238E27FC236}">
                  <a16:creationId xmlns:a16="http://schemas.microsoft.com/office/drawing/2014/main" id="{BF8376BA-C4E3-4B2E-BE41-ECDB997C4E77}"/>
                </a:ext>
              </a:extLst>
            </p:cNvPr>
            <p:cNvSpPr>
              <a:spLocks/>
            </p:cNvSpPr>
            <p:nvPr/>
          </p:nvSpPr>
          <p:spPr bwMode="auto">
            <a:xfrm>
              <a:off x="2863135" y="2927129"/>
              <a:ext cx="146953" cy="176343"/>
            </a:xfrm>
            <a:custGeom>
              <a:avLst/>
              <a:gdLst>
                <a:gd name="T0" fmla="*/ 0 w 121"/>
                <a:gd name="T1" fmla="*/ 145 h 145"/>
                <a:gd name="T2" fmla="*/ 121 w 121"/>
                <a:gd name="T3" fmla="*/ 145 h 145"/>
                <a:gd name="T4" fmla="*/ 75 w 121"/>
                <a:gd name="T5" fmla="*/ 87 h 145"/>
                <a:gd name="T6" fmla="*/ 105 w 121"/>
                <a:gd name="T7" fmla="*/ 44 h 145"/>
                <a:gd name="T8" fmla="*/ 61 w 121"/>
                <a:gd name="T9" fmla="*/ 0 h 145"/>
                <a:gd name="T10" fmla="*/ 16 w 121"/>
                <a:gd name="T11" fmla="*/ 44 h 145"/>
                <a:gd name="T12" fmla="*/ 46 w 121"/>
                <a:gd name="T13" fmla="*/ 87 h 145"/>
                <a:gd name="T14" fmla="*/ 0 w 121"/>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45">
                  <a:moveTo>
                    <a:pt x="0" y="145"/>
                  </a:moveTo>
                  <a:cubicBezTo>
                    <a:pt x="121" y="145"/>
                    <a:pt x="121" y="145"/>
                    <a:pt x="121" y="145"/>
                  </a:cubicBezTo>
                  <a:cubicBezTo>
                    <a:pt x="121" y="117"/>
                    <a:pt x="101" y="93"/>
                    <a:pt x="75" y="87"/>
                  </a:cubicBezTo>
                  <a:cubicBezTo>
                    <a:pt x="93" y="81"/>
                    <a:pt x="105" y="64"/>
                    <a:pt x="105" y="44"/>
                  </a:cubicBezTo>
                  <a:cubicBezTo>
                    <a:pt x="105" y="20"/>
                    <a:pt x="85" y="0"/>
                    <a:pt x="61" y="0"/>
                  </a:cubicBezTo>
                  <a:cubicBezTo>
                    <a:pt x="36" y="0"/>
                    <a:pt x="16" y="20"/>
                    <a:pt x="16" y="44"/>
                  </a:cubicBezTo>
                  <a:cubicBezTo>
                    <a:pt x="16" y="64"/>
                    <a:pt x="28" y="81"/>
                    <a:pt x="46" y="87"/>
                  </a:cubicBezTo>
                  <a:cubicBezTo>
                    <a:pt x="20" y="93"/>
                    <a:pt x="0" y="117"/>
                    <a:pt x="0" y="145"/>
                  </a:cubicBezTo>
                  <a:close/>
                </a:path>
              </a:pathLst>
            </a:custGeom>
            <a:solidFill>
              <a:srgbClr val="B6C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8" name="Oval 27">
              <a:extLst>
                <a:ext uri="{FF2B5EF4-FFF2-40B4-BE49-F238E27FC236}">
                  <a16:creationId xmlns:a16="http://schemas.microsoft.com/office/drawing/2014/main" id="{C4EBC8E1-0A42-4AA5-A74A-F89615627A58}"/>
                </a:ext>
              </a:extLst>
            </p:cNvPr>
            <p:cNvSpPr/>
            <p:nvPr/>
          </p:nvSpPr>
          <p:spPr bwMode="auto">
            <a:xfrm>
              <a:off x="2750671" y="2758885"/>
              <a:ext cx="617942" cy="617942"/>
            </a:xfrm>
            <a:prstGeom prst="ellipse">
              <a:avLst/>
            </a:prstGeom>
            <a:noFill/>
            <a:ln w="317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29" name="Freeform 7">
              <a:extLst>
                <a:ext uri="{FF2B5EF4-FFF2-40B4-BE49-F238E27FC236}">
                  <a16:creationId xmlns:a16="http://schemas.microsoft.com/office/drawing/2014/main" id="{73A947A0-7331-47EB-92BC-2B0CB790271C}"/>
                </a:ext>
              </a:extLst>
            </p:cNvPr>
            <p:cNvSpPr>
              <a:spLocks/>
            </p:cNvSpPr>
            <p:nvPr/>
          </p:nvSpPr>
          <p:spPr bwMode="auto">
            <a:xfrm>
              <a:off x="2936270" y="2996163"/>
              <a:ext cx="235125" cy="282969"/>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39" y="0"/>
                    <a:pt x="17" y="22"/>
                    <a:pt x="17" y="49"/>
                  </a:cubicBezTo>
                  <a:cubicBezTo>
                    <a:pt x="17" y="71"/>
                    <a:pt x="31" y="89"/>
                    <a:pt x="50" y="96"/>
                  </a:cubicBezTo>
                  <a:cubicBezTo>
                    <a:pt x="21" y="103"/>
                    <a:pt x="0" y="129"/>
                    <a:pt x="0" y="16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0" name="Group 29" descr="Icon of a person with one arm" title="One Arm">
            <a:extLst>
              <a:ext uri="{FF2B5EF4-FFF2-40B4-BE49-F238E27FC236}">
                <a16:creationId xmlns:a16="http://schemas.microsoft.com/office/drawing/2014/main" id="{D1AE60BE-1407-4D68-9AD0-0703C560698E}"/>
              </a:ext>
            </a:extLst>
          </p:cNvPr>
          <p:cNvGrpSpPr>
            <a:grpSpLocks noChangeAspect="1"/>
          </p:cNvGrpSpPr>
          <p:nvPr/>
        </p:nvGrpSpPr>
        <p:grpSpPr>
          <a:xfrm>
            <a:off x="1472381" y="5694330"/>
            <a:ext cx="371735" cy="914400"/>
            <a:chOff x="2460424" y="1681878"/>
            <a:chExt cx="927100" cy="2277610"/>
          </a:xfrm>
          <a:solidFill>
            <a:schemeClr val="bg1"/>
          </a:solidFill>
        </p:grpSpPr>
        <p:sp>
          <p:nvSpPr>
            <p:cNvPr id="31" name="object 11">
              <a:extLst>
                <a:ext uri="{FF2B5EF4-FFF2-40B4-BE49-F238E27FC236}">
                  <a16:creationId xmlns:a16="http://schemas.microsoft.com/office/drawing/2014/main" id="{4F69F728-6C07-497D-A926-30EA5D21850D}"/>
                </a:ext>
              </a:extLst>
            </p:cNvPr>
            <p:cNvSpPr/>
            <p:nvPr/>
          </p:nvSpPr>
          <p:spPr>
            <a:xfrm>
              <a:off x="2460424" y="1681878"/>
              <a:ext cx="927100" cy="1621791"/>
            </a:xfrm>
            <a:custGeom>
              <a:avLst/>
              <a:gdLst/>
              <a:ahLst/>
              <a:cxnLst/>
              <a:rect l="l" t="t" r="r" b="b"/>
              <a:pathLst>
                <a:path w="927100" h="1621789">
                  <a:moveTo>
                    <a:pt x="482531" y="0"/>
                  </a:moveTo>
                  <a:lnTo>
                    <a:pt x="434669" y="2467"/>
                  </a:lnTo>
                  <a:lnTo>
                    <a:pt x="388551" y="10502"/>
                  </a:lnTo>
                  <a:lnTo>
                    <a:pt x="344514" y="23781"/>
                  </a:lnTo>
                  <a:lnTo>
                    <a:pt x="302898" y="41980"/>
                  </a:lnTo>
                  <a:lnTo>
                    <a:pt x="264039" y="64775"/>
                  </a:lnTo>
                  <a:lnTo>
                    <a:pt x="228276" y="91841"/>
                  </a:lnTo>
                  <a:lnTo>
                    <a:pt x="195947" y="122855"/>
                  </a:lnTo>
                  <a:lnTo>
                    <a:pt x="167389" y="157492"/>
                  </a:lnTo>
                  <a:lnTo>
                    <a:pt x="142942" y="195428"/>
                  </a:lnTo>
                  <a:lnTo>
                    <a:pt x="122942" y="236340"/>
                  </a:lnTo>
                  <a:lnTo>
                    <a:pt x="107728" y="279903"/>
                  </a:lnTo>
                  <a:lnTo>
                    <a:pt x="97638" y="325792"/>
                  </a:lnTo>
                  <a:lnTo>
                    <a:pt x="93010" y="373684"/>
                  </a:lnTo>
                  <a:lnTo>
                    <a:pt x="90632" y="412950"/>
                  </a:lnTo>
                  <a:lnTo>
                    <a:pt x="83280" y="434870"/>
                  </a:lnTo>
                  <a:lnTo>
                    <a:pt x="65047" y="447394"/>
                  </a:lnTo>
                  <a:lnTo>
                    <a:pt x="30030" y="458469"/>
                  </a:lnTo>
                  <a:lnTo>
                    <a:pt x="30667" y="509689"/>
                  </a:lnTo>
                  <a:lnTo>
                    <a:pt x="42062" y="558022"/>
                  </a:lnTo>
                  <a:lnTo>
                    <a:pt x="63115" y="601956"/>
                  </a:lnTo>
                  <a:lnTo>
                    <a:pt x="92685" y="639814"/>
                  </a:lnTo>
                  <a:lnTo>
                    <a:pt x="129643" y="669958"/>
                  </a:lnTo>
                  <a:lnTo>
                    <a:pt x="172859" y="690751"/>
                  </a:lnTo>
                  <a:lnTo>
                    <a:pt x="221203" y="700557"/>
                  </a:lnTo>
                  <a:lnTo>
                    <a:pt x="253925" y="707931"/>
                  </a:lnTo>
                  <a:lnTo>
                    <a:pt x="281274" y="722510"/>
                  </a:lnTo>
                  <a:lnTo>
                    <a:pt x="333649" y="760590"/>
                  </a:lnTo>
                  <a:lnTo>
                    <a:pt x="305608" y="773226"/>
                  </a:lnTo>
                  <a:lnTo>
                    <a:pt x="256917" y="796978"/>
                  </a:lnTo>
                  <a:lnTo>
                    <a:pt x="212210" y="823630"/>
                  </a:lnTo>
                  <a:lnTo>
                    <a:pt x="171572" y="853215"/>
                  </a:lnTo>
                  <a:lnTo>
                    <a:pt x="135091" y="885765"/>
                  </a:lnTo>
                  <a:lnTo>
                    <a:pt x="102854" y="921313"/>
                  </a:lnTo>
                  <a:lnTo>
                    <a:pt x="74950" y="959892"/>
                  </a:lnTo>
                  <a:lnTo>
                    <a:pt x="51464" y="1001535"/>
                  </a:lnTo>
                  <a:lnTo>
                    <a:pt x="32485" y="1046275"/>
                  </a:lnTo>
                  <a:lnTo>
                    <a:pt x="18100" y="1094144"/>
                  </a:lnTo>
                  <a:lnTo>
                    <a:pt x="8397" y="1145175"/>
                  </a:lnTo>
                  <a:lnTo>
                    <a:pt x="3462" y="1199400"/>
                  </a:lnTo>
                  <a:lnTo>
                    <a:pt x="1616" y="1249884"/>
                  </a:lnTo>
                  <a:lnTo>
                    <a:pt x="533" y="1300403"/>
                  </a:lnTo>
                  <a:lnTo>
                    <a:pt x="49" y="1350949"/>
                  </a:lnTo>
                  <a:lnTo>
                    <a:pt x="0" y="1401514"/>
                  </a:lnTo>
                  <a:lnTo>
                    <a:pt x="221" y="1452092"/>
                  </a:lnTo>
                  <a:lnTo>
                    <a:pt x="549" y="1502674"/>
                  </a:lnTo>
                  <a:lnTo>
                    <a:pt x="820" y="1553252"/>
                  </a:lnTo>
                  <a:lnTo>
                    <a:pt x="858" y="1610017"/>
                  </a:lnTo>
                  <a:lnTo>
                    <a:pt x="3944" y="1616227"/>
                  </a:lnTo>
                  <a:lnTo>
                    <a:pt x="5341" y="1621523"/>
                  </a:lnTo>
                  <a:lnTo>
                    <a:pt x="56688" y="1621523"/>
                  </a:lnTo>
                  <a:lnTo>
                    <a:pt x="56581" y="1553252"/>
                  </a:lnTo>
                  <a:lnTo>
                    <a:pt x="56444" y="1502674"/>
                  </a:lnTo>
                  <a:lnTo>
                    <a:pt x="56436" y="1350949"/>
                  </a:lnTo>
                  <a:lnTo>
                    <a:pt x="56692" y="1310120"/>
                  </a:lnTo>
                  <a:lnTo>
                    <a:pt x="57323" y="1258760"/>
                  </a:lnTo>
                  <a:lnTo>
                    <a:pt x="60615" y="1188058"/>
                  </a:lnTo>
                  <a:lnTo>
                    <a:pt x="71470" y="1118527"/>
                  </a:lnTo>
                  <a:lnTo>
                    <a:pt x="84858" y="1072886"/>
                  </a:lnTo>
                  <a:lnTo>
                    <a:pt x="102467" y="1030417"/>
                  </a:lnTo>
                  <a:lnTo>
                    <a:pt x="124286" y="991081"/>
                  </a:lnTo>
                  <a:lnTo>
                    <a:pt x="150306" y="954839"/>
                  </a:lnTo>
                  <a:lnTo>
                    <a:pt x="180513" y="921655"/>
                  </a:lnTo>
                  <a:lnTo>
                    <a:pt x="214899" y="891488"/>
                  </a:lnTo>
                  <a:lnTo>
                    <a:pt x="253451" y="864300"/>
                  </a:lnTo>
                  <a:lnTo>
                    <a:pt x="296159" y="840054"/>
                  </a:lnTo>
                  <a:lnTo>
                    <a:pt x="356966" y="840054"/>
                  </a:lnTo>
                  <a:lnTo>
                    <a:pt x="355943" y="832964"/>
                  </a:lnTo>
                  <a:lnTo>
                    <a:pt x="358286" y="821967"/>
                  </a:lnTo>
                  <a:lnTo>
                    <a:pt x="365922" y="814407"/>
                  </a:lnTo>
                  <a:lnTo>
                    <a:pt x="379712" y="810234"/>
                  </a:lnTo>
                  <a:lnTo>
                    <a:pt x="475318" y="796289"/>
                  </a:lnTo>
                  <a:lnTo>
                    <a:pt x="697601" y="796289"/>
                  </a:lnTo>
                  <a:lnTo>
                    <a:pt x="673647" y="784351"/>
                  </a:lnTo>
                  <a:lnTo>
                    <a:pt x="621571" y="759561"/>
                  </a:lnTo>
                  <a:lnTo>
                    <a:pt x="648831" y="739600"/>
                  </a:lnTo>
                  <a:lnTo>
                    <a:pt x="653878" y="736104"/>
                  </a:lnTo>
                  <a:lnTo>
                    <a:pt x="473756" y="736104"/>
                  </a:lnTo>
                  <a:lnTo>
                    <a:pt x="426401" y="730824"/>
                  </a:lnTo>
                  <a:lnTo>
                    <a:pt x="381928" y="716710"/>
                  </a:lnTo>
                  <a:lnTo>
                    <a:pt x="341413" y="694796"/>
                  </a:lnTo>
                  <a:lnTo>
                    <a:pt x="305936" y="666114"/>
                  </a:lnTo>
                  <a:lnTo>
                    <a:pt x="279089" y="634644"/>
                  </a:lnTo>
                  <a:lnTo>
                    <a:pt x="201074" y="634644"/>
                  </a:lnTo>
                  <a:lnTo>
                    <a:pt x="164435" y="622398"/>
                  </a:lnTo>
                  <a:lnTo>
                    <a:pt x="128174" y="594229"/>
                  </a:lnTo>
                  <a:lnTo>
                    <a:pt x="100274" y="557131"/>
                  </a:lnTo>
                  <a:lnTo>
                    <a:pt x="88717" y="518096"/>
                  </a:lnTo>
                  <a:lnTo>
                    <a:pt x="88590" y="511505"/>
                  </a:lnTo>
                  <a:lnTo>
                    <a:pt x="92933" y="501599"/>
                  </a:lnTo>
                  <a:lnTo>
                    <a:pt x="98242" y="498601"/>
                  </a:lnTo>
                  <a:lnTo>
                    <a:pt x="125456" y="476128"/>
                  </a:lnTo>
                  <a:lnTo>
                    <a:pt x="140589" y="448552"/>
                  </a:lnTo>
                  <a:lnTo>
                    <a:pt x="147346" y="417207"/>
                  </a:lnTo>
                  <a:lnTo>
                    <a:pt x="149436" y="383425"/>
                  </a:lnTo>
                  <a:lnTo>
                    <a:pt x="153940" y="336348"/>
                  </a:lnTo>
                  <a:lnTo>
                    <a:pt x="164443" y="291302"/>
                  </a:lnTo>
                  <a:lnTo>
                    <a:pt x="180574" y="248774"/>
                  </a:lnTo>
                  <a:lnTo>
                    <a:pt x="201961" y="209253"/>
                  </a:lnTo>
                  <a:lnTo>
                    <a:pt x="228231" y="173227"/>
                  </a:lnTo>
                  <a:lnTo>
                    <a:pt x="259047" y="141156"/>
                  </a:lnTo>
                  <a:lnTo>
                    <a:pt x="293935" y="113609"/>
                  </a:lnTo>
                  <a:lnTo>
                    <a:pt x="332624" y="90994"/>
                  </a:lnTo>
                  <a:lnTo>
                    <a:pt x="374708" y="73825"/>
                  </a:lnTo>
                  <a:lnTo>
                    <a:pt x="419097" y="62542"/>
                  </a:lnTo>
                  <a:lnTo>
                    <a:pt x="463232" y="57511"/>
                  </a:lnTo>
                  <a:lnTo>
                    <a:pt x="679776" y="57511"/>
                  </a:lnTo>
                  <a:lnTo>
                    <a:pt x="660372" y="45525"/>
                  </a:lnTo>
                  <a:lnTo>
                    <a:pt x="619266" y="26435"/>
                  </a:lnTo>
                  <a:lnTo>
                    <a:pt x="575698" y="12258"/>
                  </a:lnTo>
                  <a:lnTo>
                    <a:pt x="530007" y="3333"/>
                  </a:lnTo>
                  <a:lnTo>
                    <a:pt x="482531" y="0"/>
                  </a:lnTo>
                  <a:close/>
                </a:path>
                <a:path w="927100" h="1621789">
                  <a:moveTo>
                    <a:pt x="356966" y="840054"/>
                  </a:moveTo>
                  <a:lnTo>
                    <a:pt x="296159" y="840054"/>
                  </a:lnTo>
                  <a:lnTo>
                    <a:pt x="314424" y="893322"/>
                  </a:lnTo>
                  <a:lnTo>
                    <a:pt x="340977" y="936678"/>
                  </a:lnTo>
                  <a:lnTo>
                    <a:pt x="376175" y="969117"/>
                  </a:lnTo>
                  <a:lnTo>
                    <a:pt x="420379" y="989631"/>
                  </a:lnTo>
                  <a:lnTo>
                    <a:pt x="473946" y="997216"/>
                  </a:lnTo>
                  <a:lnTo>
                    <a:pt x="520870" y="992716"/>
                  </a:lnTo>
                  <a:lnTo>
                    <a:pt x="560867" y="978359"/>
                  </a:lnTo>
                  <a:lnTo>
                    <a:pt x="594331" y="954839"/>
                  </a:lnTo>
                  <a:lnTo>
                    <a:pt x="606463" y="940638"/>
                  </a:lnTo>
                  <a:lnTo>
                    <a:pt x="475254" y="940638"/>
                  </a:lnTo>
                  <a:lnTo>
                    <a:pt x="435014" y="933418"/>
                  </a:lnTo>
                  <a:lnTo>
                    <a:pt x="400489" y="914020"/>
                  </a:lnTo>
                  <a:lnTo>
                    <a:pt x="374041" y="884632"/>
                  </a:lnTo>
                  <a:lnTo>
                    <a:pt x="358033" y="847445"/>
                  </a:lnTo>
                  <a:lnTo>
                    <a:pt x="356966" y="840054"/>
                  </a:lnTo>
                  <a:close/>
                </a:path>
                <a:path w="927100" h="1621789">
                  <a:moveTo>
                    <a:pt x="697601" y="796289"/>
                  </a:moveTo>
                  <a:lnTo>
                    <a:pt x="475318" y="796289"/>
                  </a:lnTo>
                  <a:lnTo>
                    <a:pt x="571736" y="809675"/>
                  </a:lnTo>
                  <a:lnTo>
                    <a:pt x="586979" y="814306"/>
                  </a:lnTo>
                  <a:lnTo>
                    <a:pt x="595080" y="822839"/>
                  </a:lnTo>
                  <a:lnTo>
                    <a:pt x="597287" y="834868"/>
                  </a:lnTo>
                  <a:lnTo>
                    <a:pt x="594850" y="849985"/>
                  </a:lnTo>
                  <a:lnTo>
                    <a:pt x="578149" y="886529"/>
                  </a:lnTo>
                  <a:lnTo>
                    <a:pt x="550768" y="915338"/>
                  </a:lnTo>
                  <a:lnTo>
                    <a:pt x="515529" y="934133"/>
                  </a:lnTo>
                  <a:lnTo>
                    <a:pt x="475254" y="940638"/>
                  </a:lnTo>
                  <a:lnTo>
                    <a:pt x="606463" y="940638"/>
                  </a:lnTo>
                  <a:lnTo>
                    <a:pt x="621535" y="922996"/>
                  </a:lnTo>
                  <a:lnTo>
                    <a:pt x="642933" y="883454"/>
                  </a:lnTo>
                  <a:lnTo>
                    <a:pt x="658858" y="836980"/>
                  </a:lnTo>
                  <a:lnTo>
                    <a:pt x="760825" y="836980"/>
                  </a:lnTo>
                  <a:lnTo>
                    <a:pt x="744173" y="824720"/>
                  </a:lnTo>
                  <a:lnTo>
                    <a:pt x="721533" y="809751"/>
                  </a:lnTo>
                  <a:lnTo>
                    <a:pt x="698134" y="796555"/>
                  </a:lnTo>
                  <a:lnTo>
                    <a:pt x="697601" y="796289"/>
                  </a:lnTo>
                  <a:close/>
                </a:path>
                <a:path w="927100" h="1621789">
                  <a:moveTo>
                    <a:pt x="760825" y="836980"/>
                  </a:moveTo>
                  <a:lnTo>
                    <a:pt x="658858" y="836980"/>
                  </a:lnTo>
                  <a:lnTo>
                    <a:pt x="771774" y="915390"/>
                  </a:lnTo>
                  <a:lnTo>
                    <a:pt x="817087" y="879716"/>
                  </a:lnTo>
                  <a:lnTo>
                    <a:pt x="790782" y="859790"/>
                  </a:lnTo>
                  <a:lnTo>
                    <a:pt x="766867" y="841428"/>
                  </a:lnTo>
                  <a:lnTo>
                    <a:pt x="760825" y="836980"/>
                  </a:lnTo>
                  <a:close/>
                </a:path>
                <a:path w="927100" h="1621789">
                  <a:moveTo>
                    <a:pt x="550827" y="323964"/>
                  </a:moveTo>
                  <a:lnTo>
                    <a:pt x="471939" y="323964"/>
                  </a:lnTo>
                  <a:lnTo>
                    <a:pt x="499216" y="352405"/>
                  </a:lnTo>
                  <a:lnTo>
                    <a:pt x="525757" y="380657"/>
                  </a:lnTo>
                  <a:lnTo>
                    <a:pt x="581756" y="431101"/>
                  </a:lnTo>
                  <a:lnTo>
                    <a:pt x="634695" y="457749"/>
                  </a:lnTo>
                  <a:lnTo>
                    <a:pt x="692577" y="476376"/>
                  </a:lnTo>
                  <a:lnTo>
                    <a:pt x="704648" y="481340"/>
                  </a:lnTo>
                  <a:lnTo>
                    <a:pt x="712463" y="487837"/>
                  </a:lnTo>
                  <a:lnTo>
                    <a:pt x="716571" y="496931"/>
                  </a:lnTo>
                  <a:lnTo>
                    <a:pt x="717519" y="509689"/>
                  </a:lnTo>
                  <a:lnTo>
                    <a:pt x="711278" y="555168"/>
                  </a:lnTo>
                  <a:lnTo>
                    <a:pt x="696037" y="597708"/>
                  </a:lnTo>
                  <a:lnTo>
                    <a:pt x="672835" y="636326"/>
                  </a:lnTo>
                  <a:lnTo>
                    <a:pt x="642710" y="670036"/>
                  </a:lnTo>
                  <a:lnTo>
                    <a:pt x="606701" y="697853"/>
                  </a:lnTo>
                  <a:lnTo>
                    <a:pt x="565847" y="718793"/>
                  </a:lnTo>
                  <a:lnTo>
                    <a:pt x="521185" y="731872"/>
                  </a:lnTo>
                  <a:lnTo>
                    <a:pt x="473756" y="736104"/>
                  </a:lnTo>
                  <a:lnTo>
                    <a:pt x="653878" y="736104"/>
                  </a:lnTo>
                  <a:lnTo>
                    <a:pt x="675354" y="721229"/>
                  </a:lnTo>
                  <a:lnTo>
                    <a:pt x="704151" y="707112"/>
                  </a:lnTo>
                  <a:lnTo>
                    <a:pt x="738233" y="699909"/>
                  </a:lnTo>
                  <a:lnTo>
                    <a:pt x="780958" y="691513"/>
                  </a:lnTo>
                  <a:lnTo>
                    <a:pt x="819983" y="673984"/>
                  </a:lnTo>
                  <a:lnTo>
                    <a:pt x="854369" y="648735"/>
                  </a:lnTo>
                  <a:lnTo>
                    <a:pt x="865623" y="636409"/>
                  </a:lnTo>
                  <a:lnTo>
                    <a:pt x="751517" y="636409"/>
                  </a:lnTo>
                  <a:lnTo>
                    <a:pt x="781654" y="429602"/>
                  </a:lnTo>
                  <a:lnTo>
                    <a:pt x="729331" y="425051"/>
                  </a:lnTo>
                  <a:lnTo>
                    <a:pt x="682346" y="415118"/>
                  </a:lnTo>
                  <a:lnTo>
                    <a:pt x="640691" y="399723"/>
                  </a:lnTo>
                  <a:lnTo>
                    <a:pt x="604360" y="378785"/>
                  </a:lnTo>
                  <a:lnTo>
                    <a:pt x="573343" y="352223"/>
                  </a:lnTo>
                  <a:lnTo>
                    <a:pt x="550827" y="323964"/>
                  </a:lnTo>
                  <a:close/>
                </a:path>
                <a:path w="927100" h="1621789">
                  <a:moveTo>
                    <a:pt x="679776" y="57511"/>
                  </a:moveTo>
                  <a:lnTo>
                    <a:pt x="463232" y="57511"/>
                  </a:lnTo>
                  <a:lnTo>
                    <a:pt x="506656" y="58422"/>
                  </a:lnTo>
                  <a:lnTo>
                    <a:pt x="548910" y="64960"/>
                  </a:lnTo>
                  <a:lnTo>
                    <a:pt x="589536" y="76815"/>
                  </a:lnTo>
                  <a:lnTo>
                    <a:pt x="628074" y="93674"/>
                  </a:lnTo>
                  <a:lnTo>
                    <a:pt x="664067" y="115225"/>
                  </a:lnTo>
                  <a:lnTo>
                    <a:pt x="697081" y="141183"/>
                  </a:lnTo>
                  <a:lnTo>
                    <a:pt x="726580" y="171154"/>
                  </a:lnTo>
                  <a:lnTo>
                    <a:pt x="752185" y="204907"/>
                  </a:lnTo>
                  <a:lnTo>
                    <a:pt x="773409" y="242104"/>
                  </a:lnTo>
                  <a:lnTo>
                    <a:pt x="789795" y="282432"/>
                  </a:lnTo>
                  <a:lnTo>
                    <a:pt x="800883" y="325579"/>
                  </a:lnTo>
                  <a:lnTo>
                    <a:pt x="806216" y="371233"/>
                  </a:lnTo>
                  <a:lnTo>
                    <a:pt x="808289" y="408923"/>
                  </a:lnTo>
                  <a:lnTo>
                    <a:pt x="814457" y="444393"/>
                  </a:lnTo>
                  <a:lnTo>
                    <a:pt x="830271" y="475655"/>
                  </a:lnTo>
                  <a:lnTo>
                    <a:pt x="861283" y="500722"/>
                  </a:lnTo>
                  <a:lnTo>
                    <a:pt x="865538" y="502958"/>
                  </a:lnTo>
                  <a:lnTo>
                    <a:pt x="868297" y="511505"/>
                  </a:lnTo>
                  <a:lnTo>
                    <a:pt x="856618" y="556737"/>
                  </a:lnTo>
                  <a:lnTo>
                    <a:pt x="827766" y="594380"/>
                  </a:lnTo>
                  <a:lnTo>
                    <a:pt x="789997" y="623339"/>
                  </a:lnTo>
                  <a:lnTo>
                    <a:pt x="751517" y="636409"/>
                  </a:lnTo>
                  <a:lnTo>
                    <a:pt x="865623" y="636409"/>
                  </a:lnTo>
                  <a:lnTo>
                    <a:pt x="883178" y="617181"/>
                  </a:lnTo>
                  <a:lnTo>
                    <a:pt x="905472" y="580736"/>
                  </a:lnTo>
                  <a:lnTo>
                    <a:pt x="920313" y="540814"/>
                  </a:lnTo>
                  <a:lnTo>
                    <a:pt x="926762" y="498830"/>
                  </a:lnTo>
                  <a:lnTo>
                    <a:pt x="923882" y="456196"/>
                  </a:lnTo>
                  <a:lnTo>
                    <a:pt x="890558" y="448586"/>
                  </a:lnTo>
                  <a:lnTo>
                    <a:pt x="872824" y="437918"/>
                  </a:lnTo>
                  <a:lnTo>
                    <a:pt x="865592" y="417949"/>
                  </a:lnTo>
                  <a:lnTo>
                    <a:pt x="863773" y="382435"/>
                  </a:lnTo>
                  <a:lnTo>
                    <a:pt x="860037" y="334395"/>
                  </a:lnTo>
                  <a:lnTo>
                    <a:pt x="850796" y="288216"/>
                  </a:lnTo>
                  <a:lnTo>
                    <a:pt x="836388" y="244235"/>
                  </a:lnTo>
                  <a:lnTo>
                    <a:pt x="817151" y="202793"/>
                  </a:lnTo>
                  <a:lnTo>
                    <a:pt x="793423" y="164227"/>
                  </a:lnTo>
                  <a:lnTo>
                    <a:pt x="765543" y="128879"/>
                  </a:lnTo>
                  <a:lnTo>
                    <a:pt x="733849" y="97086"/>
                  </a:lnTo>
                  <a:lnTo>
                    <a:pt x="698680" y="69188"/>
                  </a:lnTo>
                  <a:lnTo>
                    <a:pt x="679776" y="57511"/>
                  </a:lnTo>
                  <a:close/>
                </a:path>
                <a:path w="927100" h="1621789">
                  <a:moveTo>
                    <a:pt x="502267" y="188112"/>
                  </a:moveTo>
                  <a:lnTo>
                    <a:pt x="450197" y="188112"/>
                  </a:lnTo>
                  <a:lnTo>
                    <a:pt x="440676" y="237831"/>
                  </a:lnTo>
                  <a:lnTo>
                    <a:pt x="425810" y="281658"/>
                  </a:lnTo>
                  <a:lnTo>
                    <a:pt x="405578" y="319664"/>
                  </a:lnTo>
                  <a:lnTo>
                    <a:pt x="379963" y="351921"/>
                  </a:lnTo>
                  <a:lnTo>
                    <a:pt x="348946" y="378498"/>
                  </a:lnTo>
                  <a:lnTo>
                    <a:pt x="312507" y="399468"/>
                  </a:lnTo>
                  <a:lnTo>
                    <a:pt x="270629" y="414901"/>
                  </a:lnTo>
                  <a:lnTo>
                    <a:pt x="223293" y="424867"/>
                  </a:lnTo>
                  <a:lnTo>
                    <a:pt x="170480" y="429437"/>
                  </a:lnTo>
                  <a:lnTo>
                    <a:pt x="201074" y="634644"/>
                  </a:lnTo>
                  <a:lnTo>
                    <a:pt x="279089" y="634644"/>
                  </a:lnTo>
                  <a:lnTo>
                    <a:pt x="276576" y="631699"/>
                  </a:lnTo>
                  <a:lnTo>
                    <a:pt x="254412" y="592583"/>
                  </a:lnTo>
                  <a:lnTo>
                    <a:pt x="240522" y="549799"/>
                  </a:lnTo>
                  <a:lnTo>
                    <a:pt x="235986" y="504380"/>
                  </a:lnTo>
                  <a:lnTo>
                    <a:pt x="237310" y="497167"/>
                  </a:lnTo>
                  <a:lnTo>
                    <a:pt x="240572" y="489462"/>
                  </a:lnTo>
                  <a:lnTo>
                    <a:pt x="244914" y="483165"/>
                  </a:lnTo>
                  <a:lnTo>
                    <a:pt x="249474" y="480174"/>
                  </a:lnTo>
                  <a:lnTo>
                    <a:pt x="297770" y="468713"/>
                  </a:lnTo>
                  <a:lnTo>
                    <a:pt x="341420" y="450924"/>
                  </a:lnTo>
                  <a:lnTo>
                    <a:pt x="380542" y="427181"/>
                  </a:lnTo>
                  <a:lnTo>
                    <a:pt x="415257" y="397858"/>
                  </a:lnTo>
                  <a:lnTo>
                    <a:pt x="445682" y="363328"/>
                  </a:lnTo>
                  <a:lnTo>
                    <a:pt x="471939" y="323964"/>
                  </a:lnTo>
                  <a:lnTo>
                    <a:pt x="550827" y="323964"/>
                  </a:lnTo>
                  <a:lnTo>
                    <a:pt x="547633" y="319955"/>
                  </a:lnTo>
                  <a:lnTo>
                    <a:pt x="527222" y="281902"/>
                  </a:lnTo>
                  <a:lnTo>
                    <a:pt x="512103" y="237981"/>
                  </a:lnTo>
                  <a:lnTo>
                    <a:pt x="502267" y="188112"/>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object 12">
              <a:extLst>
                <a:ext uri="{FF2B5EF4-FFF2-40B4-BE49-F238E27FC236}">
                  <a16:creationId xmlns:a16="http://schemas.microsoft.com/office/drawing/2014/main" id="{2816B4E6-CB96-4D76-8589-E686E17AB0C3}"/>
                </a:ext>
              </a:extLst>
            </p:cNvPr>
            <p:cNvSpPr/>
            <p:nvPr/>
          </p:nvSpPr>
          <p:spPr>
            <a:xfrm>
              <a:off x="2590272" y="2775848"/>
              <a:ext cx="695325" cy="1183640"/>
            </a:xfrm>
            <a:custGeom>
              <a:avLst/>
              <a:gdLst/>
              <a:ahLst/>
              <a:cxnLst/>
              <a:rect l="l" t="t" r="r" b="b"/>
              <a:pathLst>
                <a:path w="695325" h="1183639">
                  <a:moveTo>
                    <a:pt x="678178" y="689073"/>
                  </a:moveTo>
                  <a:lnTo>
                    <a:pt x="187617" y="689073"/>
                  </a:lnTo>
                  <a:lnTo>
                    <a:pt x="511098" y="689911"/>
                  </a:lnTo>
                  <a:lnTo>
                    <a:pt x="517769" y="690419"/>
                  </a:lnTo>
                  <a:lnTo>
                    <a:pt x="524867" y="691692"/>
                  </a:lnTo>
                  <a:lnTo>
                    <a:pt x="532824" y="693408"/>
                  </a:lnTo>
                  <a:lnTo>
                    <a:pt x="542074" y="695245"/>
                  </a:lnTo>
                  <a:lnTo>
                    <a:pt x="542074" y="1183471"/>
                  </a:lnTo>
                  <a:lnTo>
                    <a:pt x="597090" y="1183471"/>
                  </a:lnTo>
                  <a:lnTo>
                    <a:pt x="597090" y="768892"/>
                  </a:lnTo>
                  <a:lnTo>
                    <a:pt x="598251" y="724903"/>
                  </a:lnTo>
                  <a:lnTo>
                    <a:pt x="606377" y="701979"/>
                  </a:lnTo>
                  <a:lnTo>
                    <a:pt x="628433" y="692661"/>
                  </a:lnTo>
                  <a:lnTo>
                    <a:pt x="671385" y="689492"/>
                  </a:lnTo>
                  <a:lnTo>
                    <a:pt x="677646" y="689200"/>
                  </a:lnTo>
                  <a:lnTo>
                    <a:pt x="678178" y="689073"/>
                  </a:lnTo>
                  <a:close/>
                </a:path>
                <a:path w="695325" h="1183639">
                  <a:moveTo>
                    <a:pt x="186770" y="689160"/>
                  </a:moveTo>
                  <a:lnTo>
                    <a:pt x="71147" y="689160"/>
                  </a:lnTo>
                  <a:lnTo>
                    <a:pt x="86226" y="697377"/>
                  </a:lnTo>
                  <a:lnTo>
                    <a:pt x="93752" y="713887"/>
                  </a:lnTo>
                  <a:lnTo>
                    <a:pt x="95529" y="738590"/>
                  </a:lnTo>
                  <a:lnTo>
                    <a:pt x="94827" y="788618"/>
                  </a:lnTo>
                  <a:lnTo>
                    <a:pt x="94415" y="838651"/>
                  </a:lnTo>
                  <a:lnTo>
                    <a:pt x="94312" y="988769"/>
                  </a:lnTo>
                  <a:lnTo>
                    <a:pt x="94583" y="1088853"/>
                  </a:lnTo>
                  <a:lnTo>
                    <a:pt x="94640" y="1182772"/>
                  </a:lnTo>
                  <a:lnTo>
                    <a:pt x="151879" y="1182772"/>
                  </a:lnTo>
                  <a:lnTo>
                    <a:pt x="151922" y="828808"/>
                  </a:lnTo>
                  <a:lnTo>
                    <a:pt x="151762" y="788618"/>
                  </a:lnTo>
                  <a:lnTo>
                    <a:pt x="151660" y="768892"/>
                  </a:lnTo>
                  <a:lnTo>
                    <a:pt x="151384" y="726715"/>
                  </a:lnTo>
                  <a:lnTo>
                    <a:pt x="152864" y="709213"/>
                  </a:lnTo>
                  <a:lnTo>
                    <a:pt x="158513" y="697469"/>
                  </a:lnTo>
                  <a:lnTo>
                    <a:pt x="169655" y="690938"/>
                  </a:lnTo>
                  <a:lnTo>
                    <a:pt x="186770" y="689160"/>
                  </a:lnTo>
                  <a:close/>
                </a:path>
                <a:path w="695325" h="1183639">
                  <a:moveTo>
                    <a:pt x="115918" y="0"/>
                  </a:moveTo>
                  <a:lnTo>
                    <a:pt x="100441" y="3060"/>
                  </a:lnTo>
                  <a:lnTo>
                    <a:pt x="94826" y="16526"/>
                  </a:lnTo>
                  <a:lnTo>
                    <a:pt x="95034" y="44116"/>
                  </a:lnTo>
                  <a:lnTo>
                    <a:pt x="96792" y="93655"/>
                  </a:lnTo>
                  <a:lnTo>
                    <a:pt x="97127" y="143007"/>
                  </a:lnTo>
                  <a:lnTo>
                    <a:pt x="95954" y="192166"/>
                  </a:lnTo>
                  <a:lnTo>
                    <a:pt x="93188" y="241131"/>
                  </a:lnTo>
                  <a:lnTo>
                    <a:pt x="88744" y="289897"/>
                  </a:lnTo>
                  <a:lnTo>
                    <a:pt x="82537" y="338462"/>
                  </a:lnTo>
                  <a:lnTo>
                    <a:pt x="74484" y="386822"/>
                  </a:lnTo>
                  <a:lnTo>
                    <a:pt x="64498" y="434974"/>
                  </a:lnTo>
                  <a:lnTo>
                    <a:pt x="52495" y="482914"/>
                  </a:lnTo>
                  <a:lnTo>
                    <a:pt x="38392" y="530640"/>
                  </a:lnTo>
                  <a:lnTo>
                    <a:pt x="27490" y="568865"/>
                  </a:lnTo>
                  <a:lnTo>
                    <a:pt x="18162" y="608037"/>
                  </a:lnTo>
                  <a:lnTo>
                    <a:pt x="9350" y="648262"/>
                  </a:lnTo>
                  <a:lnTo>
                    <a:pt x="0" y="689644"/>
                  </a:lnTo>
                  <a:lnTo>
                    <a:pt x="14002" y="689866"/>
                  </a:lnTo>
                  <a:lnTo>
                    <a:pt x="26069" y="690211"/>
                  </a:lnTo>
                  <a:lnTo>
                    <a:pt x="36779" y="690196"/>
                  </a:lnTo>
                  <a:lnTo>
                    <a:pt x="46710" y="689339"/>
                  </a:lnTo>
                  <a:lnTo>
                    <a:pt x="186770" y="689160"/>
                  </a:lnTo>
                  <a:lnTo>
                    <a:pt x="187617" y="689073"/>
                  </a:lnTo>
                  <a:lnTo>
                    <a:pt x="678178" y="689073"/>
                  </a:lnTo>
                  <a:lnTo>
                    <a:pt x="683869" y="687714"/>
                  </a:lnTo>
                  <a:lnTo>
                    <a:pt x="695236" y="686012"/>
                  </a:lnTo>
                  <a:lnTo>
                    <a:pt x="680058" y="629446"/>
                  </a:lnTo>
                  <a:lnTo>
                    <a:pt x="69697" y="629446"/>
                  </a:lnTo>
                  <a:lnTo>
                    <a:pt x="83880" y="581949"/>
                  </a:lnTo>
                  <a:lnTo>
                    <a:pt x="97191" y="534465"/>
                  </a:lnTo>
                  <a:lnTo>
                    <a:pt x="109487" y="486960"/>
                  </a:lnTo>
                  <a:lnTo>
                    <a:pt x="120625" y="439402"/>
                  </a:lnTo>
                  <a:lnTo>
                    <a:pt x="130464" y="391758"/>
                  </a:lnTo>
                  <a:lnTo>
                    <a:pt x="138861" y="343997"/>
                  </a:lnTo>
                  <a:lnTo>
                    <a:pt x="145674" y="296084"/>
                  </a:lnTo>
                  <a:lnTo>
                    <a:pt x="150759" y="247989"/>
                  </a:lnTo>
                  <a:lnTo>
                    <a:pt x="153976" y="199678"/>
                  </a:lnTo>
                  <a:lnTo>
                    <a:pt x="155132" y="153075"/>
                  </a:lnTo>
                  <a:lnTo>
                    <a:pt x="155161" y="150097"/>
                  </a:lnTo>
                  <a:lnTo>
                    <a:pt x="154231" y="102280"/>
                  </a:lnTo>
                  <a:lnTo>
                    <a:pt x="150985" y="53127"/>
                  </a:lnTo>
                  <a:lnTo>
                    <a:pt x="145300" y="3628"/>
                  </a:lnTo>
                  <a:lnTo>
                    <a:pt x="115918" y="0"/>
                  </a:lnTo>
                  <a:close/>
                </a:path>
                <a:path w="695325" h="1183639">
                  <a:moveTo>
                    <a:pt x="566349" y="759"/>
                  </a:moveTo>
                  <a:lnTo>
                    <a:pt x="540213" y="44116"/>
                  </a:lnTo>
                  <a:lnTo>
                    <a:pt x="540026" y="71252"/>
                  </a:lnTo>
                  <a:lnTo>
                    <a:pt x="539859" y="93655"/>
                  </a:lnTo>
                  <a:lnTo>
                    <a:pt x="539862" y="123826"/>
                  </a:lnTo>
                  <a:lnTo>
                    <a:pt x="540440" y="153075"/>
                  </a:lnTo>
                  <a:lnTo>
                    <a:pt x="541251" y="196530"/>
                  </a:lnTo>
                  <a:lnTo>
                    <a:pt x="541986" y="243033"/>
                  </a:lnTo>
                  <a:lnTo>
                    <a:pt x="544305" y="289282"/>
                  </a:lnTo>
                  <a:lnTo>
                    <a:pt x="549922" y="334958"/>
                  </a:lnTo>
                  <a:lnTo>
                    <a:pt x="559730" y="384801"/>
                  </a:lnTo>
                  <a:lnTo>
                    <a:pt x="571339" y="434332"/>
                  </a:lnTo>
                  <a:lnTo>
                    <a:pt x="584015" y="483678"/>
                  </a:lnTo>
                  <a:lnTo>
                    <a:pt x="597025" y="532968"/>
                  </a:lnTo>
                  <a:lnTo>
                    <a:pt x="609638" y="582329"/>
                  </a:lnTo>
                  <a:lnTo>
                    <a:pt x="612240" y="593552"/>
                  </a:lnTo>
                  <a:lnTo>
                    <a:pt x="614670" y="605030"/>
                  </a:lnTo>
                  <a:lnTo>
                    <a:pt x="617096" y="616937"/>
                  </a:lnTo>
                  <a:lnTo>
                    <a:pt x="619683" y="629446"/>
                  </a:lnTo>
                  <a:lnTo>
                    <a:pt x="680058" y="629446"/>
                  </a:lnTo>
                  <a:lnTo>
                    <a:pt x="669323" y="589436"/>
                  </a:lnTo>
                  <a:lnTo>
                    <a:pt x="656628" y="541230"/>
                  </a:lnTo>
                  <a:lnTo>
                    <a:pt x="644426" y="493033"/>
                  </a:lnTo>
                  <a:lnTo>
                    <a:pt x="632954" y="444812"/>
                  </a:lnTo>
                  <a:lnTo>
                    <a:pt x="622453" y="396532"/>
                  </a:lnTo>
                  <a:lnTo>
                    <a:pt x="613160" y="348160"/>
                  </a:lnTo>
                  <a:lnTo>
                    <a:pt x="605315" y="299662"/>
                  </a:lnTo>
                  <a:lnTo>
                    <a:pt x="599157" y="251005"/>
                  </a:lnTo>
                  <a:lnTo>
                    <a:pt x="594923" y="202153"/>
                  </a:lnTo>
                  <a:lnTo>
                    <a:pt x="592854" y="153075"/>
                  </a:lnTo>
                  <a:lnTo>
                    <a:pt x="593187" y="103735"/>
                  </a:lnTo>
                  <a:lnTo>
                    <a:pt x="596162" y="54100"/>
                  </a:lnTo>
                  <a:lnTo>
                    <a:pt x="602018" y="4136"/>
                  </a:lnTo>
                  <a:lnTo>
                    <a:pt x="566349" y="759"/>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object 13">
              <a:extLst>
                <a:ext uri="{FF2B5EF4-FFF2-40B4-BE49-F238E27FC236}">
                  <a16:creationId xmlns:a16="http://schemas.microsoft.com/office/drawing/2014/main" id="{9B9E9515-797F-4329-B70F-81A4BAEE4ABE}"/>
                </a:ext>
              </a:extLst>
            </p:cNvPr>
            <p:cNvSpPr/>
            <p:nvPr/>
          </p:nvSpPr>
          <p:spPr>
            <a:xfrm>
              <a:off x="2855211" y="2246245"/>
              <a:ext cx="166370" cy="82550"/>
            </a:xfrm>
            <a:custGeom>
              <a:avLst/>
              <a:gdLst/>
              <a:ahLst/>
              <a:cxnLst/>
              <a:rect l="l" t="t" r="r" b="b"/>
              <a:pathLst>
                <a:path w="166369" h="82550">
                  <a:moveTo>
                    <a:pt x="165989" y="0"/>
                  </a:moveTo>
                  <a:lnTo>
                    <a:pt x="0" y="0"/>
                  </a:lnTo>
                  <a:lnTo>
                    <a:pt x="7244" y="33536"/>
                  </a:lnTo>
                  <a:lnTo>
                    <a:pt x="23307" y="58897"/>
                  </a:lnTo>
                  <a:lnTo>
                    <a:pt x="47195" y="75307"/>
                  </a:lnTo>
                  <a:lnTo>
                    <a:pt x="77914" y="81991"/>
                  </a:lnTo>
                  <a:lnTo>
                    <a:pt x="110267" y="77815"/>
                  </a:lnTo>
                  <a:lnTo>
                    <a:pt x="136305" y="62403"/>
                  </a:lnTo>
                  <a:lnTo>
                    <a:pt x="155167" y="36287"/>
                  </a:lnTo>
                  <a:lnTo>
                    <a:pt x="165989" y="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 name="Group 33" descr="Icon of a person with an arm injury" title="Arm Injury">
            <a:extLst>
              <a:ext uri="{FF2B5EF4-FFF2-40B4-BE49-F238E27FC236}">
                <a16:creationId xmlns:a16="http://schemas.microsoft.com/office/drawing/2014/main" id="{5B0F6599-EB12-4C73-A8B7-CE438C6CD1A4}"/>
              </a:ext>
            </a:extLst>
          </p:cNvPr>
          <p:cNvGrpSpPr>
            <a:grpSpLocks noChangeAspect="1"/>
          </p:cNvGrpSpPr>
          <p:nvPr/>
        </p:nvGrpSpPr>
        <p:grpSpPr>
          <a:xfrm>
            <a:off x="5055033" y="5684804"/>
            <a:ext cx="397532" cy="914400"/>
            <a:chOff x="5742070" y="1770398"/>
            <a:chExt cx="952500" cy="2190931"/>
          </a:xfrm>
          <a:solidFill>
            <a:schemeClr val="bg1"/>
          </a:solidFill>
        </p:grpSpPr>
        <p:sp>
          <p:nvSpPr>
            <p:cNvPr id="35" name="object 8">
              <a:extLst>
                <a:ext uri="{FF2B5EF4-FFF2-40B4-BE49-F238E27FC236}">
                  <a16:creationId xmlns:a16="http://schemas.microsoft.com/office/drawing/2014/main" id="{7CDC8557-166D-4102-AE61-2DC316B121A5}"/>
                </a:ext>
              </a:extLst>
            </p:cNvPr>
            <p:cNvSpPr/>
            <p:nvPr/>
          </p:nvSpPr>
          <p:spPr>
            <a:xfrm>
              <a:off x="5742070" y="1770398"/>
              <a:ext cx="952500" cy="1536700"/>
            </a:xfrm>
            <a:custGeom>
              <a:avLst/>
              <a:gdLst/>
              <a:ahLst/>
              <a:cxnLst/>
              <a:rect l="l" t="t" r="r" b="b"/>
              <a:pathLst>
                <a:path w="952500" h="1536700">
                  <a:moveTo>
                    <a:pt x="771151" y="762000"/>
                  </a:moveTo>
                  <a:lnTo>
                    <a:pt x="661758" y="762000"/>
                  </a:lnTo>
                  <a:lnTo>
                    <a:pt x="707712" y="787400"/>
                  </a:lnTo>
                  <a:lnTo>
                    <a:pt x="749367" y="812800"/>
                  </a:lnTo>
                  <a:lnTo>
                    <a:pt x="786346" y="850900"/>
                  </a:lnTo>
                  <a:lnTo>
                    <a:pt x="818273" y="889000"/>
                  </a:lnTo>
                  <a:lnTo>
                    <a:pt x="844771" y="927100"/>
                  </a:lnTo>
                  <a:lnTo>
                    <a:pt x="865462" y="977900"/>
                  </a:lnTo>
                  <a:lnTo>
                    <a:pt x="879971" y="1028700"/>
                  </a:lnTo>
                  <a:lnTo>
                    <a:pt x="887920" y="1079500"/>
                  </a:lnTo>
                  <a:lnTo>
                    <a:pt x="891467" y="1130300"/>
                  </a:lnTo>
                  <a:lnTo>
                    <a:pt x="893709" y="1181100"/>
                  </a:lnTo>
                  <a:lnTo>
                    <a:pt x="894930" y="1231900"/>
                  </a:lnTo>
                  <a:lnTo>
                    <a:pt x="895416" y="1282700"/>
                  </a:lnTo>
                  <a:lnTo>
                    <a:pt x="895325" y="1447800"/>
                  </a:lnTo>
                  <a:lnTo>
                    <a:pt x="895730" y="1498600"/>
                  </a:lnTo>
                  <a:lnTo>
                    <a:pt x="895756" y="1536700"/>
                  </a:lnTo>
                  <a:lnTo>
                    <a:pt x="951966" y="1536700"/>
                  </a:lnTo>
                  <a:lnTo>
                    <a:pt x="952062" y="1435100"/>
                  </a:lnTo>
                  <a:lnTo>
                    <a:pt x="952183" y="1257300"/>
                  </a:lnTo>
                  <a:lnTo>
                    <a:pt x="952056" y="1193800"/>
                  </a:lnTo>
                  <a:lnTo>
                    <a:pt x="951801" y="1143000"/>
                  </a:lnTo>
                  <a:lnTo>
                    <a:pt x="949516" y="1092200"/>
                  </a:lnTo>
                  <a:lnTo>
                    <a:pt x="943329" y="1054100"/>
                  </a:lnTo>
                  <a:lnTo>
                    <a:pt x="933230" y="1003300"/>
                  </a:lnTo>
                  <a:lnTo>
                    <a:pt x="919210" y="965200"/>
                  </a:lnTo>
                  <a:lnTo>
                    <a:pt x="901262" y="927100"/>
                  </a:lnTo>
                  <a:lnTo>
                    <a:pt x="879377" y="876300"/>
                  </a:lnTo>
                  <a:lnTo>
                    <a:pt x="853546" y="850900"/>
                  </a:lnTo>
                  <a:lnTo>
                    <a:pt x="823760" y="812800"/>
                  </a:lnTo>
                  <a:lnTo>
                    <a:pt x="790011" y="774700"/>
                  </a:lnTo>
                  <a:lnTo>
                    <a:pt x="771151" y="762000"/>
                  </a:lnTo>
                  <a:close/>
                </a:path>
                <a:path w="952500" h="1536700">
                  <a:moveTo>
                    <a:pt x="649686" y="685800"/>
                  </a:moveTo>
                  <a:lnTo>
                    <a:pt x="310154" y="685800"/>
                  </a:lnTo>
                  <a:lnTo>
                    <a:pt x="300238" y="698500"/>
                  </a:lnTo>
                  <a:lnTo>
                    <a:pt x="291045" y="698500"/>
                  </a:lnTo>
                  <a:lnTo>
                    <a:pt x="245035" y="723900"/>
                  </a:lnTo>
                  <a:lnTo>
                    <a:pt x="202912" y="749300"/>
                  </a:lnTo>
                  <a:lnTo>
                    <a:pt x="164683" y="774700"/>
                  </a:lnTo>
                  <a:lnTo>
                    <a:pt x="130356" y="812800"/>
                  </a:lnTo>
                  <a:lnTo>
                    <a:pt x="99940" y="838200"/>
                  </a:lnTo>
                  <a:lnTo>
                    <a:pt x="73442" y="876300"/>
                  </a:lnTo>
                  <a:lnTo>
                    <a:pt x="50870" y="927100"/>
                  </a:lnTo>
                  <a:lnTo>
                    <a:pt x="32231" y="965200"/>
                  </a:lnTo>
                  <a:lnTo>
                    <a:pt x="17535" y="1016000"/>
                  </a:lnTo>
                  <a:lnTo>
                    <a:pt x="6788" y="1066800"/>
                  </a:lnTo>
                  <a:lnTo>
                    <a:pt x="0" y="1117600"/>
                  </a:lnTo>
                  <a:lnTo>
                    <a:pt x="12" y="1130300"/>
                  </a:lnTo>
                  <a:lnTo>
                    <a:pt x="4999" y="1143000"/>
                  </a:lnTo>
                  <a:lnTo>
                    <a:pt x="16321" y="1155700"/>
                  </a:lnTo>
                  <a:lnTo>
                    <a:pt x="35344" y="1168400"/>
                  </a:lnTo>
                  <a:lnTo>
                    <a:pt x="83076" y="1181100"/>
                  </a:lnTo>
                  <a:lnTo>
                    <a:pt x="130712" y="1206500"/>
                  </a:lnTo>
                  <a:lnTo>
                    <a:pt x="225785" y="1231900"/>
                  </a:lnTo>
                  <a:lnTo>
                    <a:pt x="273263" y="1257300"/>
                  </a:lnTo>
                  <a:lnTo>
                    <a:pt x="368210" y="1282700"/>
                  </a:lnTo>
                  <a:lnTo>
                    <a:pt x="415721" y="1308100"/>
                  </a:lnTo>
                  <a:lnTo>
                    <a:pt x="439222" y="1308100"/>
                  </a:lnTo>
                  <a:lnTo>
                    <a:pt x="487248" y="1333500"/>
                  </a:lnTo>
                  <a:lnTo>
                    <a:pt x="512063" y="1333500"/>
                  </a:lnTo>
                  <a:lnTo>
                    <a:pt x="531075" y="1282700"/>
                  </a:lnTo>
                  <a:lnTo>
                    <a:pt x="444728" y="1257300"/>
                  </a:lnTo>
                  <a:lnTo>
                    <a:pt x="461423" y="1219200"/>
                  </a:lnTo>
                  <a:lnTo>
                    <a:pt x="366255" y="1219200"/>
                  </a:lnTo>
                  <a:lnTo>
                    <a:pt x="225742" y="1181100"/>
                  </a:lnTo>
                  <a:lnTo>
                    <a:pt x="178986" y="1155700"/>
                  </a:lnTo>
                  <a:lnTo>
                    <a:pt x="85343" y="1130300"/>
                  </a:lnTo>
                  <a:lnTo>
                    <a:pt x="72374" y="1117600"/>
                  </a:lnTo>
                  <a:lnTo>
                    <a:pt x="64096" y="1104900"/>
                  </a:lnTo>
                  <a:lnTo>
                    <a:pt x="60476" y="1104900"/>
                  </a:lnTo>
                  <a:lnTo>
                    <a:pt x="61480" y="1092200"/>
                  </a:lnTo>
                  <a:lnTo>
                    <a:pt x="65711" y="1066800"/>
                  </a:lnTo>
                  <a:lnTo>
                    <a:pt x="69884" y="1041400"/>
                  </a:lnTo>
                  <a:lnTo>
                    <a:pt x="78727" y="1003300"/>
                  </a:lnTo>
                  <a:lnTo>
                    <a:pt x="248368" y="1003300"/>
                  </a:lnTo>
                  <a:lnTo>
                    <a:pt x="107327" y="952500"/>
                  </a:lnTo>
                  <a:lnTo>
                    <a:pt x="129802" y="901700"/>
                  </a:lnTo>
                  <a:lnTo>
                    <a:pt x="160260" y="863600"/>
                  </a:lnTo>
                  <a:lnTo>
                    <a:pt x="197085" y="825500"/>
                  </a:lnTo>
                  <a:lnTo>
                    <a:pt x="238661" y="787400"/>
                  </a:lnTo>
                  <a:lnTo>
                    <a:pt x="283375" y="762000"/>
                  </a:lnTo>
                  <a:lnTo>
                    <a:pt x="356438" y="762000"/>
                  </a:lnTo>
                  <a:lnTo>
                    <a:pt x="355385" y="749300"/>
                  </a:lnTo>
                  <a:lnTo>
                    <a:pt x="358598" y="736600"/>
                  </a:lnTo>
                  <a:lnTo>
                    <a:pt x="366319" y="736600"/>
                  </a:lnTo>
                  <a:lnTo>
                    <a:pt x="378790" y="723900"/>
                  </a:lnTo>
                  <a:lnTo>
                    <a:pt x="402720" y="723900"/>
                  </a:lnTo>
                  <a:lnTo>
                    <a:pt x="475767" y="711200"/>
                  </a:lnTo>
                  <a:lnTo>
                    <a:pt x="690024" y="711200"/>
                  </a:lnTo>
                  <a:lnTo>
                    <a:pt x="669458" y="698500"/>
                  </a:lnTo>
                  <a:lnTo>
                    <a:pt x="649686" y="685800"/>
                  </a:lnTo>
                  <a:close/>
                </a:path>
                <a:path w="952500" h="1536700">
                  <a:moveTo>
                    <a:pt x="248368" y="1003300"/>
                  </a:moveTo>
                  <a:lnTo>
                    <a:pt x="78727" y="1003300"/>
                  </a:lnTo>
                  <a:lnTo>
                    <a:pt x="436016" y="1130300"/>
                  </a:lnTo>
                  <a:lnTo>
                    <a:pt x="426265" y="1155700"/>
                  </a:lnTo>
                  <a:lnTo>
                    <a:pt x="416942" y="1168400"/>
                  </a:lnTo>
                  <a:lnTo>
                    <a:pt x="407393" y="1193800"/>
                  </a:lnTo>
                  <a:lnTo>
                    <a:pt x="396963" y="1219200"/>
                  </a:lnTo>
                  <a:lnTo>
                    <a:pt x="461423" y="1219200"/>
                  </a:lnTo>
                  <a:lnTo>
                    <a:pt x="522636" y="1079500"/>
                  </a:lnTo>
                  <a:lnTo>
                    <a:pt x="459930" y="1079500"/>
                  </a:lnTo>
                  <a:lnTo>
                    <a:pt x="248368" y="1003300"/>
                  </a:lnTo>
                  <a:close/>
                </a:path>
                <a:path w="952500" h="1536700">
                  <a:moveTo>
                    <a:pt x="356438" y="762000"/>
                  </a:moveTo>
                  <a:lnTo>
                    <a:pt x="283375" y="762000"/>
                  </a:lnTo>
                  <a:lnTo>
                    <a:pt x="306766" y="800100"/>
                  </a:lnTo>
                  <a:lnTo>
                    <a:pt x="329296" y="825500"/>
                  </a:lnTo>
                  <a:lnTo>
                    <a:pt x="353196" y="863600"/>
                  </a:lnTo>
                  <a:lnTo>
                    <a:pt x="380695" y="889000"/>
                  </a:lnTo>
                  <a:lnTo>
                    <a:pt x="412633" y="901700"/>
                  </a:lnTo>
                  <a:lnTo>
                    <a:pt x="448756" y="914400"/>
                  </a:lnTo>
                  <a:lnTo>
                    <a:pt x="487281" y="914400"/>
                  </a:lnTo>
                  <a:lnTo>
                    <a:pt x="526427" y="927100"/>
                  </a:lnTo>
                  <a:lnTo>
                    <a:pt x="459930" y="1079500"/>
                  </a:lnTo>
                  <a:lnTo>
                    <a:pt x="522636" y="1079500"/>
                  </a:lnTo>
                  <a:lnTo>
                    <a:pt x="617239" y="863600"/>
                  </a:lnTo>
                  <a:lnTo>
                    <a:pt x="475767" y="863600"/>
                  </a:lnTo>
                  <a:lnTo>
                    <a:pt x="434305" y="850900"/>
                  </a:lnTo>
                  <a:lnTo>
                    <a:pt x="398529" y="825500"/>
                  </a:lnTo>
                  <a:lnTo>
                    <a:pt x="371540" y="800100"/>
                  </a:lnTo>
                  <a:lnTo>
                    <a:pt x="356438" y="762000"/>
                  </a:lnTo>
                  <a:close/>
                </a:path>
                <a:path w="952500" h="1536700">
                  <a:moveTo>
                    <a:pt x="690024" y="711200"/>
                  </a:moveTo>
                  <a:lnTo>
                    <a:pt x="475767" y="711200"/>
                  </a:lnTo>
                  <a:lnTo>
                    <a:pt x="525129" y="723900"/>
                  </a:lnTo>
                  <a:lnTo>
                    <a:pt x="574890" y="723900"/>
                  </a:lnTo>
                  <a:lnTo>
                    <a:pt x="587810" y="736600"/>
                  </a:lnTo>
                  <a:lnTo>
                    <a:pt x="594885" y="736600"/>
                  </a:lnTo>
                  <a:lnTo>
                    <a:pt x="597195" y="749300"/>
                  </a:lnTo>
                  <a:lnTo>
                    <a:pt x="580532" y="800100"/>
                  </a:lnTo>
                  <a:lnTo>
                    <a:pt x="517280" y="850900"/>
                  </a:lnTo>
                  <a:lnTo>
                    <a:pt x="475767" y="863600"/>
                  </a:lnTo>
                  <a:lnTo>
                    <a:pt x="617239" y="863600"/>
                  </a:lnTo>
                  <a:lnTo>
                    <a:pt x="661758" y="762000"/>
                  </a:lnTo>
                  <a:lnTo>
                    <a:pt x="771151" y="762000"/>
                  </a:lnTo>
                  <a:lnTo>
                    <a:pt x="752291" y="749300"/>
                  </a:lnTo>
                  <a:lnTo>
                    <a:pt x="690024" y="711200"/>
                  </a:lnTo>
                  <a:close/>
                </a:path>
                <a:path w="952500" h="1536700">
                  <a:moveTo>
                    <a:pt x="764311" y="495300"/>
                  </a:moveTo>
                  <a:lnTo>
                    <a:pt x="701738" y="495300"/>
                  </a:lnTo>
                  <a:lnTo>
                    <a:pt x="685442" y="533400"/>
                  </a:lnTo>
                  <a:lnTo>
                    <a:pt x="658328" y="571500"/>
                  </a:lnTo>
                  <a:lnTo>
                    <a:pt x="622276" y="609600"/>
                  </a:lnTo>
                  <a:lnTo>
                    <a:pt x="579163" y="635000"/>
                  </a:lnTo>
                  <a:lnTo>
                    <a:pt x="530869" y="647700"/>
                  </a:lnTo>
                  <a:lnTo>
                    <a:pt x="479272" y="660400"/>
                  </a:lnTo>
                  <a:lnTo>
                    <a:pt x="318822" y="660400"/>
                  </a:lnTo>
                  <a:lnTo>
                    <a:pt x="334302" y="673100"/>
                  </a:lnTo>
                  <a:lnTo>
                    <a:pt x="321330" y="685800"/>
                  </a:lnTo>
                  <a:lnTo>
                    <a:pt x="631507" y="685800"/>
                  </a:lnTo>
                  <a:lnTo>
                    <a:pt x="658793" y="647700"/>
                  </a:lnTo>
                  <a:lnTo>
                    <a:pt x="686177" y="622300"/>
                  </a:lnTo>
                  <a:lnTo>
                    <a:pt x="712499" y="596900"/>
                  </a:lnTo>
                  <a:lnTo>
                    <a:pt x="736599" y="558800"/>
                  </a:lnTo>
                  <a:lnTo>
                    <a:pt x="758584" y="520700"/>
                  </a:lnTo>
                  <a:lnTo>
                    <a:pt x="764311" y="495300"/>
                  </a:lnTo>
                  <a:close/>
                </a:path>
                <a:path w="952500" h="1536700">
                  <a:moveTo>
                    <a:pt x="184111" y="38100"/>
                  </a:moveTo>
                  <a:lnTo>
                    <a:pt x="183960" y="88900"/>
                  </a:lnTo>
                  <a:lnTo>
                    <a:pt x="183529" y="152400"/>
                  </a:lnTo>
                  <a:lnTo>
                    <a:pt x="183057" y="228600"/>
                  </a:lnTo>
                  <a:lnTo>
                    <a:pt x="182934" y="317500"/>
                  </a:lnTo>
                  <a:lnTo>
                    <a:pt x="183195" y="355600"/>
                  </a:lnTo>
                  <a:lnTo>
                    <a:pt x="184096" y="406400"/>
                  </a:lnTo>
                  <a:lnTo>
                    <a:pt x="185699" y="457200"/>
                  </a:lnTo>
                  <a:lnTo>
                    <a:pt x="194078" y="508000"/>
                  </a:lnTo>
                  <a:lnTo>
                    <a:pt x="213850" y="558800"/>
                  </a:lnTo>
                  <a:lnTo>
                    <a:pt x="242997" y="596900"/>
                  </a:lnTo>
                  <a:lnTo>
                    <a:pt x="291730" y="647700"/>
                  </a:lnTo>
                  <a:lnTo>
                    <a:pt x="304734" y="660400"/>
                  </a:lnTo>
                  <a:lnTo>
                    <a:pt x="479272" y="660400"/>
                  </a:lnTo>
                  <a:lnTo>
                    <a:pt x="427553" y="647700"/>
                  </a:lnTo>
                  <a:lnTo>
                    <a:pt x="379072" y="635000"/>
                  </a:lnTo>
                  <a:lnTo>
                    <a:pt x="335749" y="609600"/>
                  </a:lnTo>
                  <a:lnTo>
                    <a:pt x="299505" y="571500"/>
                  </a:lnTo>
                  <a:lnTo>
                    <a:pt x="272259" y="533400"/>
                  </a:lnTo>
                  <a:lnTo>
                    <a:pt x="255930" y="495300"/>
                  </a:lnTo>
                  <a:lnTo>
                    <a:pt x="764311" y="495300"/>
                  </a:lnTo>
                  <a:lnTo>
                    <a:pt x="767174" y="482600"/>
                  </a:lnTo>
                  <a:lnTo>
                    <a:pt x="345668" y="482600"/>
                  </a:lnTo>
                  <a:lnTo>
                    <a:pt x="308238" y="457200"/>
                  </a:lnTo>
                  <a:lnTo>
                    <a:pt x="277410" y="431800"/>
                  </a:lnTo>
                  <a:lnTo>
                    <a:pt x="254591" y="393700"/>
                  </a:lnTo>
                  <a:lnTo>
                    <a:pt x="241185" y="342900"/>
                  </a:lnTo>
                  <a:lnTo>
                    <a:pt x="286453" y="330200"/>
                  </a:lnTo>
                  <a:lnTo>
                    <a:pt x="330225" y="304800"/>
                  </a:lnTo>
                  <a:lnTo>
                    <a:pt x="777500" y="304800"/>
                  </a:lnTo>
                  <a:lnTo>
                    <a:pt x="776986" y="279400"/>
                  </a:lnTo>
                  <a:lnTo>
                    <a:pt x="238074" y="279400"/>
                  </a:lnTo>
                  <a:lnTo>
                    <a:pt x="238163" y="152400"/>
                  </a:lnTo>
                  <a:lnTo>
                    <a:pt x="238400" y="152400"/>
                  </a:lnTo>
                  <a:lnTo>
                    <a:pt x="238899" y="139700"/>
                  </a:lnTo>
                  <a:lnTo>
                    <a:pt x="239513" y="127000"/>
                  </a:lnTo>
                  <a:lnTo>
                    <a:pt x="329913" y="127000"/>
                  </a:lnTo>
                  <a:lnTo>
                    <a:pt x="338958" y="88900"/>
                  </a:lnTo>
                  <a:lnTo>
                    <a:pt x="353707" y="63500"/>
                  </a:lnTo>
                  <a:lnTo>
                    <a:pt x="278599" y="63500"/>
                  </a:lnTo>
                  <a:lnTo>
                    <a:pt x="184111" y="38100"/>
                  </a:lnTo>
                  <a:close/>
                </a:path>
                <a:path w="952500" h="1536700">
                  <a:moveTo>
                    <a:pt x="701738" y="495300"/>
                  </a:moveTo>
                  <a:lnTo>
                    <a:pt x="255930" y="495300"/>
                  </a:lnTo>
                  <a:lnTo>
                    <a:pt x="395008" y="571500"/>
                  </a:lnTo>
                  <a:lnTo>
                    <a:pt x="408652" y="533400"/>
                  </a:lnTo>
                  <a:lnTo>
                    <a:pt x="424562" y="520700"/>
                  </a:lnTo>
                  <a:lnTo>
                    <a:pt x="452952" y="508000"/>
                  </a:lnTo>
                  <a:lnTo>
                    <a:pt x="676992" y="508000"/>
                  </a:lnTo>
                  <a:lnTo>
                    <a:pt x="701738" y="495300"/>
                  </a:lnTo>
                  <a:close/>
                </a:path>
                <a:path w="952500" h="1536700">
                  <a:moveTo>
                    <a:pt x="676992" y="508000"/>
                  </a:moveTo>
                  <a:lnTo>
                    <a:pt x="504037" y="508000"/>
                  </a:lnTo>
                  <a:lnTo>
                    <a:pt x="527263" y="520700"/>
                  </a:lnTo>
                  <a:lnTo>
                    <a:pt x="540794" y="520700"/>
                  </a:lnTo>
                  <a:lnTo>
                    <a:pt x="548253" y="546100"/>
                  </a:lnTo>
                  <a:lnTo>
                    <a:pt x="553262" y="571500"/>
                  </a:lnTo>
                  <a:lnTo>
                    <a:pt x="676992" y="508000"/>
                  </a:lnTo>
                  <a:close/>
                </a:path>
                <a:path w="952500" h="1536700">
                  <a:moveTo>
                    <a:pt x="507350" y="457200"/>
                  </a:moveTo>
                  <a:lnTo>
                    <a:pt x="416252" y="457200"/>
                  </a:lnTo>
                  <a:lnTo>
                    <a:pt x="370725" y="482600"/>
                  </a:lnTo>
                  <a:lnTo>
                    <a:pt x="601192" y="482600"/>
                  </a:lnTo>
                  <a:lnTo>
                    <a:pt x="507350" y="457200"/>
                  </a:lnTo>
                  <a:close/>
                </a:path>
                <a:path w="952500" h="1536700">
                  <a:moveTo>
                    <a:pt x="777500" y="304800"/>
                  </a:moveTo>
                  <a:lnTo>
                    <a:pt x="351815" y="304800"/>
                  </a:lnTo>
                  <a:lnTo>
                    <a:pt x="381573" y="330200"/>
                  </a:lnTo>
                  <a:lnTo>
                    <a:pt x="413061" y="330200"/>
                  </a:lnTo>
                  <a:lnTo>
                    <a:pt x="445748" y="342900"/>
                  </a:lnTo>
                  <a:lnTo>
                    <a:pt x="718019" y="342900"/>
                  </a:lnTo>
                  <a:lnTo>
                    <a:pt x="700028" y="393700"/>
                  </a:lnTo>
                  <a:lnTo>
                    <a:pt x="673507" y="431800"/>
                  </a:lnTo>
                  <a:lnTo>
                    <a:pt x="640036" y="457200"/>
                  </a:lnTo>
                  <a:lnTo>
                    <a:pt x="601192" y="482600"/>
                  </a:lnTo>
                  <a:lnTo>
                    <a:pt x="767174" y="482600"/>
                  </a:lnTo>
                  <a:lnTo>
                    <a:pt x="770038" y="469900"/>
                  </a:lnTo>
                  <a:lnTo>
                    <a:pt x="774641" y="431800"/>
                  </a:lnTo>
                  <a:lnTo>
                    <a:pt x="776074" y="381000"/>
                  </a:lnTo>
                  <a:lnTo>
                    <a:pt x="778014" y="330200"/>
                  </a:lnTo>
                  <a:lnTo>
                    <a:pt x="777500" y="304800"/>
                  </a:lnTo>
                  <a:close/>
                </a:path>
                <a:path w="952500" h="1536700">
                  <a:moveTo>
                    <a:pt x="368426" y="228600"/>
                  </a:moveTo>
                  <a:lnTo>
                    <a:pt x="309041" y="228600"/>
                  </a:lnTo>
                  <a:lnTo>
                    <a:pt x="298930" y="254000"/>
                  </a:lnTo>
                  <a:lnTo>
                    <a:pt x="284059" y="266700"/>
                  </a:lnTo>
                  <a:lnTo>
                    <a:pt x="263937" y="279400"/>
                  </a:lnTo>
                  <a:lnTo>
                    <a:pt x="418106" y="279400"/>
                  </a:lnTo>
                  <a:lnTo>
                    <a:pt x="396832" y="266700"/>
                  </a:lnTo>
                  <a:lnTo>
                    <a:pt x="379856" y="254000"/>
                  </a:lnTo>
                  <a:lnTo>
                    <a:pt x="368426" y="228600"/>
                  </a:lnTo>
                  <a:close/>
                </a:path>
                <a:path w="952500" h="1536700">
                  <a:moveTo>
                    <a:pt x="479523" y="0"/>
                  </a:moveTo>
                  <a:lnTo>
                    <a:pt x="349902" y="0"/>
                  </a:lnTo>
                  <a:lnTo>
                    <a:pt x="311832" y="25400"/>
                  </a:lnTo>
                  <a:lnTo>
                    <a:pt x="278599" y="63500"/>
                  </a:lnTo>
                  <a:lnTo>
                    <a:pt x="482180" y="63500"/>
                  </a:lnTo>
                  <a:lnTo>
                    <a:pt x="529422" y="76200"/>
                  </a:lnTo>
                  <a:lnTo>
                    <a:pt x="571951" y="88900"/>
                  </a:lnTo>
                  <a:lnTo>
                    <a:pt x="610101" y="114300"/>
                  </a:lnTo>
                  <a:lnTo>
                    <a:pt x="644201" y="152400"/>
                  </a:lnTo>
                  <a:lnTo>
                    <a:pt x="674586" y="190500"/>
                  </a:lnTo>
                  <a:lnTo>
                    <a:pt x="701586" y="228600"/>
                  </a:lnTo>
                  <a:lnTo>
                    <a:pt x="715902" y="266700"/>
                  </a:lnTo>
                  <a:lnTo>
                    <a:pt x="721283" y="279400"/>
                  </a:lnTo>
                  <a:lnTo>
                    <a:pt x="776986" y="279400"/>
                  </a:lnTo>
                  <a:lnTo>
                    <a:pt x="767369" y="241300"/>
                  </a:lnTo>
                  <a:lnTo>
                    <a:pt x="750347" y="190500"/>
                  </a:lnTo>
                  <a:lnTo>
                    <a:pt x="727104" y="152400"/>
                  </a:lnTo>
                  <a:lnTo>
                    <a:pt x="698825" y="114300"/>
                  </a:lnTo>
                  <a:lnTo>
                    <a:pt x="666693" y="88900"/>
                  </a:lnTo>
                  <a:lnTo>
                    <a:pt x="631894" y="63500"/>
                  </a:lnTo>
                  <a:lnTo>
                    <a:pt x="595610" y="38100"/>
                  </a:lnTo>
                  <a:lnTo>
                    <a:pt x="523328" y="12700"/>
                  </a:lnTo>
                  <a:lnTo>
                    <a:pt x="479523" y="0"/>
                  </a:lnTo>
                  <a:close/>
                </a:path>
                <a:path w="952500" h="1536700">
                  <a:moveTo>
                    <a:pt x="356236" y="215900"/>
                  </a:moveTo>
                  <a:lnTo>
                    <a:pt x="320686" y="215900"/>
                  </a:lnTo>
                  <a:lnTo>
                    <a:pt x="313296" y="228600"/>
                  </a:lnTo>
                  <a:lnTo>
                    <a:pt x="364206" y="228600"/>
                  </a:lnTo>
                  <a:lnTo>
                    <a:pt x="356236" y="215900"/>
                  </a:lnTo>
                  <a:close/>
                </a:path>
                <a:path w="952500" h="1536700">
                  <a:moveTo>
                    <a:pt x="329913" y="127000"/>
                  </a:moveTo>
                  <a:lnTo>
                    <a:pt x="240093" y="127000"/>
                  </a:lnTo>
                  <a:lnTo>
                    <a:pt x="326897" y="139700"/>
                  </a:lnTo>
                  <a:lnTo>
                    <a:pt x="329913" y="12700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object 9">
              <a:extLst>
                <a:ext uri="{FF2B5EF4-FFF2-40B4-BE49-F238E27FC236}">
                  <a16:creationId xmlns:a16="http://schemas.microsoft.com/office/drawing/2014/main" id="{E23B0BEA-ECD4-4DF1-BB5F-FC3B57363032}"/>
                </a:ext>
              </a:extLst>
            </p:cNvPr>
            <p:cNvSpPr/>
            <p:nvPr/>
          </p:nvSpPr>
          <p:spPr>
            <a:xfrm>
              <a:off x="5969544" y="2778324"/>
              <a:ext cx="497205" cy="118300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85469DA4-09B5-42C1-945A-909AD9C085CE}"/>
              </a:ext>
              <a:ext uri="{C183D7F6-B498-43B3-948B-1728B52AA6E4}">
                <adec:decorative xmlns:adec="http://schemas.microsoft.com/office/drawing/2017/decorative" val="1"/>
              </a:ext>
            </a:extLst>
          </p:cNvPr>
          <p:cNvGrpSpPr/>
          <p:nvPr/>
        </p:nvGrpSpPr>
        <p:grpSpPr>
          <a:xfrm>
            <a:off x="8799289" y="5651087"/>
            <a:ext cx="396765" cy="927265"/>
            <a:chOff x="8799289" y="5651087"/>
            <a:chExt cx="396765" cy="927265"/>
          </a:xfrm>
        </p:grpSpPr>
        <p:grpSp>
          <p:nvGrpSpPr>
            <p:cNvPr id="38" name="Group 37" descr="Icon of a person holding a newborn baby" title="New Parent">
              <a:extLst>
                <a:ext uri="{FF2B5EF4-FFF2-40B4-BE49-F238E27FC236}">
                  <a16:creationId xmlns:a16="http://schemas.microsoft.com/office/drawing/2014/main" id="{8D7E5BDC-86AA-4A35-B061-AB8762DEF91B}"/>
                </a:ext>
              </a:extLst>
            </p:cNvPr>
            <p:cNvGrpSpPr>
              <a:grpSpLocks noChangeAspect="1"/>
            </p:cNvGrpSpPr>
            <p:nvPr/>
          </p:nvGrpSpPr>
          <p:grpSpPr>
            <a:xfrm>
              <a:off x="8799289" y="5651087"/>
              <a:ext cx="396765" cy="640538"/>
              <a:chOff x="9036285" y="1766858"/>
              <a:chExt cx="951865" cy="1536700"/>
            </a:xfrm>
            <a:solidFill>
              <a:schemeClr val="bg1"/>
            </a:solidFill>
          </p:grpSpPr>
          <p:sp>
            <p:nvSpPr>
              <p:cNvPr id="40" name="object 15">
                <a:extLst>
                  <a:ext uri="{FF2B5EF4-FFF2-40B4-BE49-F238E27FC236}">
                    <a16:creationId xmlns:a16="http://schemas.microsoft.com/office/drawing/2014/main" id="{295ED71E-AECD-42CF-B2AD-89A68838D25F}"/>
                  </a:ext>
                </a:extLst>
              </p:cNvPr>
              <p:cNvSpPr/>
              <p:nvPr/>
            </p:nvSpPr>
            <p:spPr>
              <a:xfrm>
                <a:off x="9036285" y="1766858"/>
                <a:ext cx="951865" cy="1536700"/>
              </a:xfrm>
              <a:custGeom>
                <a:avLst/>
                <a:gdLst/>
                <a:ahLst/>
                <a:cxnLst/>
                <a:rect l="l" t="t" r="r" b="b"/>
                <a:pathLst>
                  <a:path w="951865" h="1536700">
                    <a:moveTo>
                      <a:pt x="755986" y="762000"/>
                    </a:moveTo>
                    <a:lnTo>
                      <a:pt x="667851" y="762000"/>
                    </a:lnTo>
                    <a:lnTo>
                      <a:pt x="714161" y="800100"/>
                    </a:lnTo>
                    <a:lnTo>
                      <a:pt x="755223" y="825500"/>
                    </a:lnTo>
                    <a:lnTo>
                      <a:pt x="791018" y="863600"/>
                    </a:lnTo>
                    <a:lnTo>
                      <a:pt x="821528" y="901700"/>
                    </a:lnTo>
                    <a:lnTo>
                      <a:pt x="846735" y="939800"/>
                    </a:lnTo>
                    <a:lnTo>
                      <a:pt x="866620" y="990600"/>
                    </a:lnTo>
                    <a:lnTo>
                      <a:pt x="881165" y="1041400"/>
                    </a:lnTo>
                    <a:lnTo>
                      <a:pt x="890353" y="1092200"/>
                    </a:lnTo>
                    <a:lnTo>
                      <a:pt x="894165" y="1143000"/>
                    </a:lnTo>
                    <a:lnTo>
                      <a:pt x="894950" y="1193800"/>
                    </a:lnTo>
                    <a:lnTo>
                      <a:pt x="895221" y="1231900"/>
                    </a:lnTo>
                    <a:lnTo>
                      <a:pt x="895331" y="1308100"/>
                    </a:lnTo>
                    <a:lnTo>
                      <a:pt x="895225" y="1346200"/>
                    </a:lnTo>
                    <a:lnTo>
                      <a:pt x="895003" y="1397000"/>
                    </a:lnTo>
                    <a:lnTo>
                      <a:pt x="894815" y="1447800"/>
                    </a:lnTo>
                    <a:lnTo>
                      <a:pt x="894774" y="1498600"/>
                    </a:lnTo>
                    <a:lnTo>
                      <a:pt x="894991" y="1511300"/>
                    </a:lnTo>
                    <a:lnTo>
                      <a:pt x="895489" y="1524000"/>
                    </a:lnTo>
                    <a:lnTo>
                      <a:pt x="896096" y="1536700"/>
                    </a:lnTo>
                    <a:lnTo>
                      <a:pt x="951188" y="1536700"/>
                    </a:lnTo>
                    <a:lnTo>
                      <a:pt x="951246" y="1485900"/>
                    </a:lnTo>
                    <a:lnTo>
                      <a:pt x="951678" y="1346200"/>
                    </a:lnTo>
                    <a:lnTo>
                      <a:pt x="951561" y="1231900"/>
                    </a:lnTo>
                    <a:lnTo>
                      <a:pt x="951345" y="1193800"/>
                    </a:lnTo>
                    <a:lnTo>
                      <a:pt x="950807" y="1143000"/>
                    </a:lnTo>
                    <a:lnTo>
                      <a:pt x="948076" y="1092200"/>
                    </a:lnTo>
                    <a:lnTo>
                      <a:pt x="941212" y="1041400"/>
                    </a:lnTo>
                    <a:lnTo>
                      <a:pt x="930166" y="1003300"/>
                    </a:lnTo>
                    <a:lnTo>
                      <a:pt x="914888" y="952500"/>
                    </a:lnTo>
                    <a:lnTo>
                      <a:pt x="895329" y="914400"/>
                    </a:lnTo>
                    <a:lnTo>
                      <a:pt x="871439" y="876300"/>
                    </a:lnTo>
                    <a:lnTo>
                      <a:pt x="843169" y="838200"/>
                    </a:lnTo>
                    <a:lnTo>
                      <a:pt x="810467" y="800100"/>
                    </a:lnTo>
                    <a:lnTo>
                      <a:pt x="773286" y="774700"/>
                    </a:lnTo>
                    <a:lnTo>
                      <a:pt x="755986" y="762000"/>
                    </a:lnTo>
                    <a:close/>
                  </a:path>
                  <a:path w="951865" h="1536700">
                    <a:moveTo>
                      <a:pt x="626716" y="673100"/>
                    </a:moveTo>
                    <a:lnTo>
                      <a:pt x="326488" y="673100"/>
                    </a:lnTo>
                    <a:lnTo>
                      <a:pt x="327554" y="685800"/>
                    </a:lnTo>
                    <a:lnTo>
                      <a:pt x="314092" y="685800"/>
                    </a:lnTo>
                    <a:lnTo>
                      <a:pt x="307031" y="698500"/>
                    </a:lnTo>
                    <a:lnTo>
                      <a:pt x="258295" y="711200"/>
                    </a:lnTo>
                    <a:lnTo>
                      <a:pt x="213668" y="749300"/>
                    </a:lnTo>
                    <a:lnTo>
                      <a:pt x="173169" y="774700"/>
                    </a:lnTo>
                    <a:lnTo>
                      <a:pt x="136817" y="800100"/>
                    </a:lnTo>
                    <a:lnTo>
                      <a:pt x="104630" y="838200"/>
                    </a:lnTo>
                    <a:lnTo>
                      <a:pt x="76629" y="876300"/>
                    </a:lnTo>
                    <a:lnTo>
                      <a:pt x="52833" y="927100"/>
                    </a:lnTo>
                    <a:lnTo>
                      <a:pt x="33260" y="965200"/>
                    </a:lnTo>
                    <a:lnTo>
                      <a:pt x="17929" y="1016000"/>
                    </a:lnTo>
                    <a:lnTo>
                      <a:pt x="6860" y="1066800"/>
                    </a:lnTo>
                    <a:lnTo>
                      <a:pt x="72" y="1117600"/>
                    </a:lnTo>
                    <a:lnTo>
                      <a:pt x="0" y="1143000"/>
                    </a:lnTo>
                    <a:lnTo>
                      <a:pt x="4444" y="1155700"/>
                    </a:lnTo>
                    <a:lnTo>
                      <a:pt x="15056" y="1168400"/>
                    </a:lnTo>
                    <a:lnTo>
                      <a:pt x="33486" y="1168400"/>
                    </a:lnTo>
                    <a:lnTo>
                      <a:pt x="159994" y="1206500"/>
                    </a:lnTo>
                    <a:lnTo>
                      <a:pt x="202066" y="1231900"/>
                    </a:lnTo>
                    <a:lnTo>
                      <a:pt x="471115" y="1308100"/>
                    </a:lnTo>
                    <a:lnTo>
                      <a:pt x="520844" y="1320800"/>
                    </a:lnTo>
                    <a:lnTo>
                      <a:pt x="565968" y="1308100"/>
                    </a:lnTo>
                    <a:lnTo>
                      <a:pt x="602124" y="1282700"/>
                    </a:lnTo>
                    <a:lnTo>
                      <a:pt x="609733" y="1270000"/>
                    </a:lnTo>
                    <a:lnTo>
                      <a:pt x="511184" y="1270000"/>
                    </a:lnTo>
                    <a:lnTo>
                      <a:pt x="509870" y="1244600"/>
                    </a:lnTo>
                    <a:lnTo>
                      <a:pt x="447760" y="1244600"/>
                    </a:lnTo>
                    <a:lnTo>
                      <a:pt x="346122" y="1219200"/>
                    </a:lnTo>
                    <a:lnTo>
                      <a:pt x="368419" y="1181100"/>
                    </a:lnTo>
                    <a:lnTo>
                      <a:pt x="254821" y="1181100"/>
                    </a:lnTo>
                    <a:lnTo>
                      <a:pt x="215839" y="1168400"/>
                    </a:lnTo>
                    <a:lnTo>
                      <a:pt x="184070" y="1155700"/>
                    </a:lnTo>
                    <a:lnTo>
                      <a:pt x="169704" y="1130300"/>
                    </a:lnTo>
                    <a:lnTo>
                      <a:pt x="79270" y="1130300"/>
                    </a:lnTo>
                    <a:lnTo>
                      <a:pt x="66345" y="1117600"/>
                    </a:lnTo>
                    <a:lnTo>
                      <a:pt x="60629" y="1104900"/>
                    </a:lnTo>
                    <a:lnTo>
                      <a:pt x="61159" y="1079500"/>
                    </a:lnTo>
                    <a:lnTo>
                      <a:pt x="70939" y="1028700"/>
                    </a:lnTo>
                    <a:lnTo>
                      <a:pt x="86150" y="990600"/>
                    </a:lnTo>
                    <a:lnTo>
                      <a:pt x="106776" y="939800"/>
                    </a:lnTo>
                    <a:lnTo>
                      <a:pt x="132800" y="901700"/>
                    </a:lnTo>
                    <a:lnTo>
                      <a:pt x="167204" y="850900"/>
                    </a:lnTo>
                    <a:lnTo>
                      <a:pt x="206477" y="812800"/>
                    </a:lnTo>
                    <a:lnTo>
                      <a:pt x="251006" y="787400"/>
                    </a:lnTo>
                    <a:lnTo>
                      <a:pt x="301176" y="762000"/>
                    </a:lnTo>
                    <a:lnTo>
                      <a:pt x="371735" y="762000"/>
                    </a:lnTo>
                    <a:lnTo>
                      <a:pt x="359457" y="736600"/>
                    </a:lnTo>
                    <a:lnTo>
                      <a:pt x="406453" y="723900"/>
                    </a:lnTo>
                    <a:lnTo>
                      <a:pt x="702177" y="723900"/>
                    </a:lnTo>
                    <a:lnTo>
                      <a:pt x="626716" y="673100"/>
                    </a:lnTo>
                    <a:close/>
                  </a:path>
                  <a:path w="951865" h="1536700">
                    <a:moveTo>
                      <a:pt x="608513" y="1130300"/>
                    </a:moveTo>
                    <a:lnTo>
                      <a:pt x="503957" y="1130300"/>
                    </a:lnTo>
                    <a:lnTo>
                      <a:pt x="531960" y="1143000"/>
                    </a:lnTo>
                    <a:lnTo>
                      <a:pt x="553106" y="1155700"/>
                    </a:lnTo>
                    <a:lnTo>
                      <a:pt x="566804" y="1168400"/>
                    </a:lnTo>
                    <a:lnTo>
                      <a:pt x="572461" y="1193800"/>
                    </a:lnTo>
                    <a:lnTo>
                      <a:pt x="569800" y="1219200"/>
                    </a:lnTo>
                    <a:lnTo>
                      <a:pt x="558858" y="1244600"/>
                    </a:lnTo>
                    <a:lnTo>
                      <a:pt x="539398" y="1257300"/>
                    </a:lnTo>
                    <a:lnTo>
                      <a:pt x="511184" y="1270000"/>
                    </a:lnTo>
                    <a:lnTo>
                      <a:pt x="609733" y="1270000"/>
                    </a:lnTo>
                    <a:lnTo>
                      <a:pt x="624950" y="1244600"/>
                    </a:lnTo>
                    <a:lnTo>
                      <a:pt x="630924" y="1193800"/>
                    </a:lnTo>
                    <a:lnTo>
                      <a:pt x="618356" y="1143000"/>
                    </a:lnTo>
                    <a:lnTo>
                      <a:pt x="608513" y="1130300"/>
                    </a:lnTo>
                    <a:close/>
                  </a:path>
                  <a:path w="951865" h="1536700">
                    <a:moveTo>
                      <a:pt x="588828" y="1104900"/>
                    </a:moveTo>
                    <a:lnTo>
                      <a:pt x="413013" y="1104900"/>
                    </a:lnTo>
                    <a:lnTo>
                      <a:pt x="434839" y="1117600"/>
                    </a:lnTo>
                    <a:lnTo>
                      <a:pt x="447574" y="1143000"/>
                    </a:lnTo>
                    <a:lnTo>
                      <a:pt x="451716" y="1181100"/>
                    </a:lnTo>
                    <a:lnTo>
                      <a:pt x="447760" y="1244600"/>
                    </a:lnTo>
                    <a:lnTo>
                      <a:pt x="509870" y="1244600"/>
                    </a:lnTo>
                    <a:lnTo>
                      <a:pt x="503957" y="1130300"/>
                    </a:lnTo>
                    <a:lnTo>
                      <a:pt x="608513" y="1130300"/>
                    </a:lnTo>
                    <a:lnTo>
                      <a:pt x="588828" y="1104900"/>
                    </a:lnTo>
                    <a:close/>
                  </a:path>
                  <a:path w="951865" h="1536700">
                    <a:moveTo>
                      <a:pt x="371509" y="977900"/>
                    </a:moveTo>
                    <a:lnTo>
                      <a:pt x="250923" y="977900"/>
                    </a:lnTo>
                    <a:lnTo>
                      <a:pt x="288811" y="990600"/>
                    </a:lnTo>
                    <a:lnTo>
                      <a:pt x="319734" y="1016000"/>
                    </a:lnTo>
                    <a:lnTo>
                      <a:pt x="340566" y="1041400"/>
                    </a:lnTo>
                    <a:lnTo>
                      <a:pt x="348179" y="1079500"/>
                    </a:lnTo>
                    <a:lnTo>
                      <a:pt x="341075" y="1117600"/>
                    </a:lnTo>
                    <a:lnTo>
                      <a:pt x="321493" y="1143000"/>
                    </a:lnTo>
                    <a:lnTo>
                      <a:pt x="291915" y="1168400"/>
                    </a:lnTo>
                    <a:lnTo>
                      <a:pt x="254821" y="1181100"/>
                    </a:lnTo>
                    <a:lnTo>
                      <a:pt x="368419" y="1181100"/>
                    </a:lnTo>
                    <a:lnTo>
                      <a:pt x="413013" y="1104900"/>
                    </a:lnTo>
                    <a:lnTo>
                      <a:pt x="588828" y="1104900"/>
                    </a:lnTo>
                    <a:lnTo>
                      <a:pt x="543924" y="1079500"/>
                    </a:lnTo>
                    <a:lnTo>
                      <a:pt x="521066" y="1079500"/>
                    </a:lnTo>
                    <a:lnTo>
                      <a:pt x="509543" y="1066800"/>
                    </a:lnTo>
                    <a:lnTo>
                      <a:pt x="497988" y="1066800"/>
                    </a:lnTo>
                    <a:lnTo>
                      <a:pt x="459763" y="1054100"/>
                    </a:lnTo>
                    <a:lnTo>
                      <a:pt x="423528" y="1041400"/>
                    </a:lnTo>
                    <a:lnTo>
                      <a:pt x="392904" y="1016000"/>
                    </a:lnTo>
                    <a:lnTo>
                      <a:pt x="371509" y="977900"/>
                    </a:lnTo>
                    <a:close/>
                  </a:path>
                  <a:path w="951865" h="1536700">
                    <a:moveTo>
                      <a:pt x="290400" y="838200"/>
                    </a:moveTo>
                    <a:lnTo>
                      <a:pt x="255266" y="838200"/>
                    </a:lnTo>
                    <a:lnTo>
                      <a:pt x="255559" y="850900"/>
                    </a:lnTo>
                    <a:lnTo>
                      <a:pt x="255439" y="863600"/>
                    </a:lnTo>
                    <a:lnTo>
                      <a:pt x="256464" y="876300"/>
                    </a:lnTo>
                    <a:lnTo>
                      <a:pt x="260194" y="876300"/>
                    </a:lnTo>
                    <a:lnTo>
                      <a:pt x="274521" y="901700"/>
                    </a:lnTo>
                    <a:lnTo>
                      <a:pt x="270258" y="914400"/>
                    </a:lnTo>
                    <a:lnTo>
                      <a:pt x="253889" y="927100"/>
                    </a:lnTo>
                    <a:lnTo>
                      <a:pt x="231898" y="927100"/>
                    </a:lnTo>
                    <a:lnTo>
                      <a:pt x="182392" y="939800"/>
                    </a:lnTo>
                    <a:lnTo>
                      <a:pt x="143211" y="965200"/>
                    </a:lnTo>
                    <a:lnTo>
                      <a:pt x="115616" y="1003300"/>
                    </a:lnTo>
                    <a:lnTo>
                      <a:pt x="100871" y="1054100"/>
                    </a:lnTo>
                    <a:lnTo>
                      <a:pt x="100237" y="1104900"/>
                    </a:lnTo>
                    <a:lnTo>
                      <a:pt x="101190" y="1117600"/>
                    </a:lnTo>
                    <a:lnTo>
                      <a:pt x="100364" y="1117600"/>
                    </a:lnTo>
                    <a:lnTo>
                      <a:pt x="100364" y="1130300"/>
                    </a:lnTo>
                    <a:lnTo>
                      <a:pt x="169704" y="1130300"/>
                    </a:lnTo>
                    <a:lnTo>
                      <a:pt x="162521" y="1117600"/>
                    </a:lnTo>
                    <a:lnTo>
                      <a:pt x="154199" y="1079500"/>
                    </a:lnTo>
                    <a:lnTo>
                      <a:pt x="161554" y="1041400"/>
                    </a:lnTo>
                    <a:lnTo>
                      <a:pt x="182577" y="1016000"/>
                    </a:lnTo>
                    <a:lnTo>
                      <a:pt x="213592" y="990600"/>
                    </a:lnTo>
                    <a:lnTo>
                      <a:pt x="250923" y="977900"/>
                    </a:lnTo>
                    <a:lnTo>
                      <a:pt x="369121" y="977900"/>
                    </a:lnTo>
                    <a:lnTo>
                      <a:pt x="361667" y="965200"/>
                    </a:lnTo>
                    <a:lnTo>
                      <a:pt x="355075" y="965200"/>
                    </a:lnTo>
                    <a:lnTo>
                      <a:pt x="342560" y="952500"/>
                    </a:lnTo>
                    <a:lnTo>
                      <a:pt x="334782" y="939800"/>
                    </a:lnTo>
                    <a:lnTo>
                      <a:pt x="331588" y="927100"/>
                    </a:lnTo>
                    <a:lnTo>
                      <a:pt x="332825" y="914400"/>
                    </a:lnTo>
                    <a:lnTo>
                      <a:pt x="331345" y="876300"/>
                    </a:lnTo>
                    <a:lnTo>
                      <a:pt x="316482" y="863600"/>
                    </a:lnTo>
                    <a:lnTo>
                      <a:pt x="290400" y="838200"/>
                    </a:lnTo>
                    <a:close/>
                  </a:path>
                  <a:path w="951865" h="1536700">
                    <a:moveTo>
                      <a:pt x="371735" y="762000"/>
                    </a:moveTo>
                    <a:lnTo>
                      <a:pt x="301176" y="762000"/>
                    </a:lnTo>
                    <a:lnTo>
                      <a:pt x="323961" y="800100"/>
                    </a:lnTo>
                    <a:lnTo>
                      <a:pt x="352637" y="838200"/>
                    </a:lnTo>
                    <a:lnTo>
                      <a:pt x="387537" y="863600"/>
                    </a:lnTo>
                    <a:lnTo>
                      <a:pt x="428993" y="889000"/>
                    </a:lnTo>
                    <a:lnTo>
                      <a:pt x="524677" y="889000"/>
                    </a:lnTo>
                    <a:lnTo>
                      <a:pt x="565133" y="863600"/>
                    </a:lnTo>
                    <a:lnTo>
                      <a:pt x="598981" y="838200"/>
                    </a:lnTo>
                    <a:lnTo>
                      <a:pt x="481694" y="838200"/>
                    </a:lnTo>
                    <a:lnTo>
                      <a:pt x="441188" y="825500"/>
                    </a:lnTo>
                    <a:lnTo>
                      <a:pt x="405850" y="812800"/>
                    </a:lnTo>
                    <a:lnTo>
                      <a:pt x="377874" y="774700"/>
                    </a:lnTo>
                    <a:lnTo>
                      <a:pt x="371735" y="762000"/>
                    </a:lnTo>
                    <a:close/>
                  </a:path>
                  <a:path w="951865" h="1536700">
                    <a:moveTo>
                      <a:pt x="702177" y="723900"/>
                    </a:moveTo>
                    <a:lnTo>
                      <a:pt x="544528" y="723900"/>
                    </a:lnTo>
                    <a:lnTo>
                      <a:pt x="590178" y="736600"/>
                    </a:lnTo>
                    <a:lnTo>
                      <a:pt x="576603" y="774700"/>
                    </a:lnTo>
                    <a:lnTo>
                      <a:pt x="552595" y="800100"/>
                    </a:lnTo>
                    <a:lnTo>
                      <a:pt x="520258" y="825500"/>
                    </a:lnTo>
                    <a:lnTo>
                      <a:pt x="481694" y="838200"/>
                    </a:lnTo>
                    <a:lnTo>
                      <a:pt x="598981" y="838200"/>
                    </a:lnTo>
                    <a:lnTo>
                      <a:pt x="626495" y="800100"/>
                    </a:lnTo>
                    <a:lnTo>
                      <a:pt x="647950" y="762000"/>
                    </a:lnTo>
                    <a:lnTo>
                      <a:pt x="755986" y="762000"/>
                    </a:lnTo>
                    <a:lnTo>
                      <a:pt x="738685" y="749300"/>
                    </a:lnTo>
                    <a:lnTo>
                      <a:pt x="702177" y="723900"/>
                    </a:lnTo>
                    <a:close/>
                  </a:path>
                  <a:path w="951865" h="1536700">
                    <a:moveTo>
                      <a:pt x="601701" y="12700"/>
                    </a:moveTo>
                    <a:lnTo>
                      <a:pt x="432560" y="12700"/>
                    </a:lnTo>
                    <a:lnTo>
                      <a:pt x="396401" y="25400"/>
                    </a:lnTo>
                    <a:lnTo>
                      <a:pt x="351709" y="38100"/>
                    </a:lnTo>
                    <a:lnTo>
                      <a:pt x="311077" y="63500"/>
                    </a:lnTo>
                    <a:lnTo>
                      <a:pt x="275013" y="88900"/>
                    </a:lnTo>
                    <a:lnTo>
                      <a:pt x="244027" y="114300"/>
                    </a:lnTo>
                    <a:lnTo>
                      <a:pt x="218625" y="152400"/>
                    </a:lnTo>
                    <a:lnTo>
                      <a:pt x="199317" y="190500"/>
                    </a:lnTo>
                    <a:lnTo>
                      <a:pt x="186610" y="241300"/>
                    </a:lnTo>
                    <a:lnTo>
                      <a:pt x="180155" y="304800"/>
                    </a:lnTo>
                    <a:lnTo>
                      <a:pt x="179520" y="342900"/>
                    </a:lnTo>
                    <a:lnTo>
                      <a:pt x="178710" y="381000"/>
                    </a:lnTo>
                    <a:lnTo>
                      <a:pt x="179644" y="431800"/>
                    </a:lnTo>
                    <a:lnTo>
                      <a:pt x="186812" y="482600"/>
                    </a:lnTo>
                    <a:lnTo>
                      <a:pt x="200475" y="520700"/>
                    </a:lnTo>
                    <a:lnTo>
                      <a:pt x="220895" y="571500"/>
                    </a:lnTo>
                    <a:lnTo>
                      <a:pt x="248334" y="609600"/>
                    </a:lnTo>
                    <a:lnTo>
                      <a:pt x="283055" y="647700"/>
                    </a:lnTo>
                    <a:lnTo>
                      <a:pt x="325319" y="673100"/>
                    </a:lnTo>
                    <a:lnTo>
                      <a:pt x="637663" y="673100"/>
                    </a:lnTo>
                    <a:lnTo>
                      <a:pt x="643886" y="660400"/>
                    </a:lnTo>
                    <a:lnTo>
                      <a:pt x="466044" y="660400"/>
                    </a:lnTo>
                    <a:lnTo>
                      <a:pt x="421727" y="647700"/>
                    </a:lnTo>
                    <a:lnTo>
                      <a:pt x="380584" y="635000"/>
                    </a:lnTo>
                    <a:lnTo>
                      <a:pt x="343266" y="622300"/>
                    </a:lnTo>
                    <a:lnTo>
                      <a:pt x="310423" y="596900"/>
                    </a:lnTo>
                    <a:lnTo>
                      <a:pt x="282705" y="558800"/>
                    </a:lnTo>
                    <a:lnTo>
                      <a:pt x="260762" y="520700"/>
                    </a:lnTo>
                    <a:lnTo>
                      <a:pt x="245246" y="482600"/>
                    </a:lnTo>
                    <a:lnTo>
                      <a:pt x="241495" y="457200"/>
                    </a:lnTo>
                    <a:lnTo>
                      <a:pt x="239040" y="444500"/>
                    </a:lnTo>
                    <a:lnTo>
                      <a:pt x="237136" y="419100"/>
                    </a:lnTo>
                    <a:lnTo>
                      <a:pt x="235035" y="406400"/>
                    </a:lnTo>
                    <a:lnTo>
                      <a:pt x="237003" y="406400"/>
                    </a:lnTo>
                    <a:lnTo>
                      <a:pt x="237145" y="393700"/>
                    </a:lnTo>
                    <a:lnTo>
                      <a:pt x="237365" y="393700"/>
                    </a:lnTo>
                    <a:lnTo>
                      <a:pt x="237357" y="381000"/>
                    </a:lnTo>
                    <a:lnTo>
                      <a:pt x="236813" y="381000"/>
                    </a:lnTo>
                    <a:lnTo>
                      <a:pt x="237180" y="355600"/>
                    </a:lnTo>
                    <a:lnTo>
                      <a:pt x="243760" y="342900"/>
                    </a:lnTo>
                    <a:lnTo>
                      <a:pt x="514053" y="342900"/>
                    </a:lnTo>
                    <a:lnTo>
                      <a:pt x="573623" y="317500"/>
                    </a:lnTo>
                    <a:lnTo>
                      <a:pt x="776380" y="317500"/>
                    </a:lnTo>
                    <a:lnTo>
                      <a:pt x="776197" y="292100"/>
                    </a:lnTo>
                    <a:lnTo>
                      <a:pt x="241423" y="292100"/>
                    </a:lnTo>
                    <a:lnTo>
                      <a:pt x="245585" y="241300"/>
                    </a:lnTo>
                    <a:lnTo>
                      <a:pt x="258567" y="203200"/>
                    </a:lnTo>
                    <a:lnTo>
                      <a:pt x="279694" y="165100"/>
                    </a:lnTo>
                    <a:lnTo>
                      <a:pt x="308291" y="127000"/>
                    </a:lnTo>
                    <a:lnTo>
                      <a:pt x="343683" y="101600"/>
                    </a:lnTo>
                    <a:lnTo>
                      <a:pt x="385195" y="88900"/>
                    </a:lnTo>
                    <a:lnTo>
                      <a:pt x="432152" y="76200"/>
                    </a:lnTo>
                    <a:lnTo>
                      <a:pt x="457004" y="76200"/>
                    </a:lnTo>
                    <a:lnTo>
                      <a:pt x="482047" y="63500"/>
                    </a:lnTo>
                    <a:lnTo>
                      <a:pt x="641943" y="63500"/>
                    </a:lnTo>
                    <a:lnTo>
                      <a:pt x="624404" y="38100"/>
                    </a:lnTo>
                    <a:lnTo>
                      <a:pt x="601701" y="12700"/>
                    </a:lnTo>
                    <a:close/>
                  </a:path>
                  <a:path w="951865" h="1536700">
                    <a:moveTo>
                      <a:pt x="776380" y="317500"/>
                    </a:moveTo>
                    <a:lnTo>
                      <a:pt x="647963" y="317500"/>
                    </a:lnTo>
                    <a:lnTo>
                      <a:pt x="655845" y="330200"/>
                    </a:lnTo>
                    <a:lnTo>
                      <a:pt x="663990" y="330200"/>
                    </a:lnTo>
                    <a:lnTo>
                      <a:pt x="697445" y="342900"/>
                    </a:lnTo>
                    <a:lnTo>
                      <a:pt x="714344" y="355600"/>
                    </a:lnTo>
                    <a:lnTo>
                      <a:pt x="719820" y="381000"/>
                    </a:lnTo>
                    <a:lnTo>
                      <a:pt x="719006" y="419100"/>
                    </a:lnTo>
                    <a:lnTo>
                      <a:pt x="711796" y="469900"/>
                    </a:lnTo>
                    <a:lnTo>
                      <a:pt x="695472" y="520700"/>
                    </a:lnTo>
                    <a:lnTo>
                      <a:pt x="671056" y="558800"/>
                    </a:lnTo>
                    <a:lnTo>
                      <a:pt x="639568" y="596900"/>
                    </a:lnTo>
                    <a:lnTo>
                      <a:pt x="602029" y="622300"/>
                    </a:lnTo>
                    <a:lnTo>
                      <a:pt x="559462" y="647700"/>
                    </a:lnTo>
                    <a:lnTo>
                      <a:pt x="512885" y="660400"/>
                    </a:lnTo>
                    <a:lnTo>
                      <a:pt x="643886" y="660400"/>
                    </a:lnTo>
                    <a:lnTo>
                      <a:pt x="682613" y="635000"/>
                    </a:lnTo>
                    <a:lnTo>
                      <a:pt x="714871" y="596900"/>
                    </a:lnTo>
                    <a:lnTo>
                      <a:pt x="740473" y="558800"/>
                    </a:lnTo>
                    <a:lnTo>
                      <a:pt x="759226" y="520700"/>
                    </a:lnTo>
                    <a:lnTo>
                      <a:pt x="770943" y="469900"/>
                    </a:lnTo>
                    <a:lnTo>
                      <a:pt x="775433" y="419100"/>
                    </a:lnTo>
                    <a:lnTo>
                      <a:pt x="776112" y="368300"/>
                    </a:lnTo>
                    <a:lnTo>
                      <a:pt x="776380" y="317500"/>
                    </a:lnTo>
                    <a:close/>
                  </a:path>
                  <a:path w="951865" h="1536700">
                    <a:moveTo>
                      <a:pt x="642718" y="215900"/>
                    </a:moveTo>
                    <a:lnTo>
                      <a:pt x="590457" y="215900"/>
                    </a:lnTo>
                    <a:lnTo>
                      <a:pt x="581072" y="254000"/>
                    </a:lnTo>
                    <a:lnTo>
                      <a:pt x="561571" y="266700"/>
                    </a:lnTo>
                    <a:lnTo>
                      <a:pt x="534479" y="279400"/>
                    </a:lnTo>
                    <a:lnTo>
                      <a:pt x="502319" y="292100"/>
                    </a:lnTo>
                    <a:lnTo>
                      <a:pt x="776197" y="292100"/>
                    </a:lnTo>
                    <a:lnTo>
                      <a:pt x="776105" y="279400"/>
                    </a:lnTo>
                    <a:lnTo>
                      <a:pt x="685469" y="279400"/>
                    </a:lnTo>
                    <a:lnTo>
                      <a:pt x="665251" y="266700"/>
                    </a:lnTo>
                    <a:lnTo>
                      <a:pt x="651533" y="241300"/>
                    </a:lnTo>
                    <a:lnTo>
                      <a:pt x="642718" y="215900"/>
                    </a:lnTo>
                    <a:close/>
                  </a:path>
                  <a:path w="951865" h="1536700">
                    <a:moveTo>
                      <a:pt x="641943" y="63500"/>
                    </a:moveTo>
                    <a:lnTo>
                      <a:pt x="561677" y="63500"/>
                    </a:lnTo>
                    <a:lnTo>
                      <a:pt x="579422" y="76200"/>
                    </a:lnTo>
                    <a:lnTo>
                      <a:pt x="589026" y="88900"/>
                    </a:lnTo>
                    <a:lnTo>
                      <a:pt x="593937" y="114300"/>
                    </a:lnTo>
                    <a:lnTo>
                      <a:pt x="594610" y="127000"/>
                    </a:lnTo>
                    <a:lnTo>
                      <a:pt x="595524" y="127000"/>
                    </a:lnTo>
                    <a:lnTo>
                      <a:pt x="596274" y="139700"/>
                    </a:lnTo>
                    <a:lnTo>
                      <a:pt x="655209" y="139700"/>
                    </a:lnTo>
                    <a:lnTo>
                      <a:pt x="692831" y="152400"/>
                    </a:lnTo>
                    <a:lnTo>
                      <a:pt x="712738" y="177800"/>
                    </a:lnTo>
                    <a:lnTo>
                      <a:pt x="718524" y="228600"/>
                    </a:lnTo>
                    <a:lnTo>
                      <a:pt x="713787" y="279400"/>
                    </a:lnTo>
                    <a:lnTo>
                      <a:pt x="776105" y="279400"/>
                    </a:lnTo>
                    <a:lnTo>
                      <a:pt x="774785" y="215900"/>
                    </a:lnTo>
                    <a:lnTo>
                      <a:pt x="767687" y="165100"/>
                    </a:lnTo>
                    <a:lnTo>
                      <a:pt x="718196" y="101600"/>
                    </a:lnTo>
                    <a:lnTo>
                      <a:pt x="673350" y="88900"/>
                    </a:lnTo>
                    <a:lnTo>
                      <a:pt x="664024" y="88900"/>
                    </a:lnTo>
                    <a:lnTo>
                      <a:pt x="654970" y="76200"/>
                    </a:lnTo>
                    <a:lnTo>
                      <a:pt x="647254" y="76200"/>
                    </a:lnTo>
                    <a:lnTo>
                      <a:pt x="641943" y="63500"/>
                    </a:lnTo>
                    <a:close/>
                  </a:path>
                  <a:path w="951865" h="1536700">
                    <a:moveTo>
                      <a:pt x="544039" y="0"/>
                    </a:moveTo>
                    <a:lnTo>
                      <a:pt x="506765" y="12700"/>
                    </a:lnTo>
                    <a:lnTo>
                      <a:pt x="574643" y="12700"/>
                    </a:lnTo>
                    <a:lnTo>
                      <a:pt x="5440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object 21">
                <a:extLst>
                  <a:ext uri="{FF2B5EF4-FFF2-40B4-BE49-F238E27FC236}">
                    <a16:creationId xmlns:a16="http://schemas.microsoft.com/office/drawing/2014/main" id="{A6F38094-3668-4ED6-B9D7-B864C5E7EC8D}"/>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object 22">
                <a:extLst>
                  <a:ext uri="{FF2B5EF4-FFF2-40B4-BE49-F238E27FC236}">
                    <a16:creationId xmlns:a16="http://schemas.microsoft.com/office/drawing/2014/main" id="{6A0B7F2E-0D91-4EBC-A950-7F276C5B1196}"/>
                  </a:ext>
                </a:extLst>
              </p:cNvPr>
              <p:cNvSpPr/>
              <p:nvPr/>
            </p:nvSpPr>
            <p:spPr>
              <a:xfrm>
                <a:off x="9432652" y="2248955"/>
                <a:ext cx="162560" cy="77470"/>
              </a:xfrm>
              <a:custGeom>
                <a:avLst/>
                <a:gdLst/>
                <a:ahLst/>
                <a:cxnLst/>
                <a:rect l="l" t="t" r="r" b="b"/>
                <a:pathLst>
                  <a:path w="162559" h="77469">
                    <a:moveTo>
                      <a:pt x="162471" y="0"/>
                    </a:moveTo>
                    <a:lnTo>
                      <a:pt x="0" y="0"/>
                    </a:lnTo>
                    <a:lnTo>
                      <a:pt x="12007" y="34291"/>
                    </a:lnTo>
                    <a:lnTo>
                      <a:pt x="29825" y="58391"/>
                    </a:lnTo>
                    <a:lnTo>
                      <a:pt x="53349" y="72523"/>
                    </a:lnTo>
                    <a:lnTo>
                      <a:pt x="82473" y="76911"/>
                    </a:lnTo>
                    <a:lnTo>
                      <a:pt x="111911" y="71780"/>
                    </a:lnTo>
                    <a:lnTo>
                      <a:pt x="135226" y="57238"/>
                    </a:lnTo>
                    <a:lnTo>
                      <a:pt x="152164" y="33305"/>
                    </a:lnTo>
                    <a:lnTo>
                      <a:pt x="162471"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bject 23">
                <a:extLst>
                  <a:ext uri="{FF2B5EF4-FFF2-40B4-BE49-F238E27FC236}">
                    <a16:creationId xmlns:a16="http://schemas.microsoft.com/office/drawing/2014/main" id="{A2B3371B-D963-457B-8D1B-89C00780388B}"/>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object 9">
              <a:extLst>
                <a:ext uri="{FF2B5EF4-FFF2-40B4-BE49-F238E27FC236}">
                  <a16:creationId xmlns:a16="http://schemas.microsoft.com/office/drawing/2014/main" id="{DC8B08C8-6479-49F3-8D6C-F8C837F63A11}"/>
                </a:ext>
              </a:extLst>
            </p:cNvPr>
            <p:cNvSpPr/>
            <p:nvPr/>
          </p:nvSpPr>
          <p:spPr>
            <a:xfrm>
              <a:off x="8901170" y="6084617"/>
              <a:ext cx="207512" cy="49373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solidFill>
              <a:schemeClr val="bg1"/>
            </a:solid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pic>
        <p:nvPicPr>
          <p:cNvPr id="44" name="Picture 43">
            <a:extLst>
              <a:ext uri="{FF2B5EF4-FFF2-40B4-BE49-F238E27FC236}">
                <a16:creationId xmlns:a16="http://schemas.microsoft.com/office/drawing/2014/main" id="{E4B01B15-71B6-4A83-87E4-26BC9F70586A}"/>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9"/>
          <a:stretch/>
        </p:blipFill>
        <p:spPr>
          <a:xfrm>
            <a:off x="0" y="0"/>
            <a:ext cx="12190270" cy="6882978"/>
          </a:xfrm>
          <a:prstGeom prst="rect">
            <a:avLst/>
          </a:prstGeom>
        </p:spPr>
      </p:pic>
      <p:sp>
        <p:nvSpPr>
          <p:cNvPr id="45" name="Rectangle 44">
            <a:extLst>
              <a:ext uri="{FF2B5EF4-FFF2-40B4-BE49-F238E27FC236}">
                <a16:creationId xmlns:a16="http://schemas.microsoft.com/office/drawing/2014/main" id="{5A3CDA72-613D-4A1A-96B7-2FB9375A1920}"/>
              </a:ext>
              <a:ext uri="{C183D7F6-B498-43B3-948B-1728B52AA6E4}">
                <adec:decorative xmlns:adec="http://schemas.microsoft.com/office/drawing/2017/decorative" val="1"/>
              </a:ext>
            </a:extLst>
          </p:cNvPr>
          <p:cNvSpPr/>
          <p:nvPr userDrawn="1"/>
        </p:nvSpPr>
        <p:spPr bwMode="auto">
          <a:xfrm>
            <a:off x="-2094" y="0"/>
            <a:ext cx="12190272" cy="6882978"/>
          </a:xfrm>
          <a:prstGeom prst="rect">
            <a:avLst/>
          </a:prstGeom>
          <a:solidFill>
            <a:srgbClr val="00000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 name="Freeform: Shape 45">
            <a:extLst>
              <a:ext uri="{FF2B5EF4-FFF2-40B4-BE49-F238E27FC236}">
                <a16:creationId xmlns:a16="http://schemas.microsoft.com/office/drawing/2014/main" id="{4C1A08C5-6F81-4307-A35C-00EB816544FC}"/>
              </a:ext>
              <a:ext uri="{C183D7F6-B498-43B3-948B-1728B52AA6E4}">
                <adec:decorative xmlns:adec="http://schemas.microsoft.com/office/drawing/2017/decorative" val="1"/>
              </a:ext>
            </a:extLst>
          </p:cNvPr>
          <p:cNvSpPr/>
          <p:nvPr userDrawn="1"/>
        </p:nvSpPr>
        <p:spPr bwMode="auto">
          <a:xfrm>
            <a:off x="10068113" y="412235"/>
            <a:ext cx="2124250" cy="4157360"/>
          </a:xfrm>
          <a:custGeom>
            <a:avLst/>
            <a:gdLst>
              <a:gd name="connsiteX0" fmla="*/ 2124546 w 2124552"/>
              <a:gd name="connsiteY0" fmla="*/ 0 h 4309204"/>
              <a:gd name="connsiteX1" fmla="*/ 2120341 w 2124552"/>
              <a:gd name="connsiteY1" fmla="*/ 3735089 h 4309204"/>
              <a:gd name="connsiteX2" fmla="*/ 2120113 w 2124552"/>
              <a:gd name="connsiteY2" fmla="*/ 3963333 h 4309204"/>
              <a:gd name="connsiteX3" fmla="*/ 61596 w 2124552"/>
              <a:gd name="connsiteY3" fmla="*/ 4157950 h 4309204"/>
              <a:gd name="connsiteX4" fmla="*/ 66876 w 2124552"/>
              <a:gd name="connsiteY4" fmla="*/ 4184105 h 4309204"/>
              <a:gd name="connsiteX5" fmla="*/ 43140 w 2124552"/>
              <a:gd name="connsiteY5" fmla="*/ 4301675 h 4309204"/>
              <a:gd name="connsiteX6" fmla="*/ 39053 w 2124552"/>
              <a:gd name="connsiteY6" fmla="*/ 4309204 h 4309204"/>
              <a:gd name="connsiteX7" fmla="*/ 52064 w 2124552"/>
              <a:gd name="connsiteY7" fmla="*/ 4267289 h 4309204"/>
              <a:gd name="connsiteX8" fmla="*/ 58201 w 2124552"/>
              <a:gd name="connsiteY8" fmla="*/ 4206416 h 4309204"/>
              <a:gd name="connsiteX9" fmla="*/ 6616 w 2124552"/>
              <a:gd name="connsiteY9" fmla="*/ 4037540 h 4309204"/>
              <a:gd name="connsiteX10" fmla="*/ 0 w 2124552"/>
              <a:gd name="connsiteY10" fmla="*/ 4029521 h 4309204"/>
              <a:gd name="connsiteX11" fmla="*/ 2124546 w 2124552"/>
              <a:gd name="connsiteY11" fmla="*/ 0 h 4309204"/>
              <a:gd name="connsiteX0" fmla="*/ 2124546 w 2124552"/>
              <a:gd name="connsiteY0" fmla="*/ 0 h 4301675"/>
              <a:gd name="connsiteX1" fmla="*/ 2120341 w 2124552"/>
              <a:gd name="connsiteY1" fmla="*/ 3735089 h 4301675"/>
              <a:gd name="connsiteX2" fmla="*/ 2120113 w 2124552"/>
              <a:gd name="connsiteY2" fmla="*/ 3963333 h 4301675"/>
              <a:gd name="connsiteX3" fmla="*/ 61596 w 2124552"/>
              <a:gd name="connsiteY3" fmla="*/ 4157950 h 4301675"/>
              <a:gd name="connsiteX4" fmla="*/ 66876 w 2124552"/>
              <a:gd name="connsiteY4" fmla="*/ 4184105 h 4301675"/>
              <a:gd name="connsiteX5" fmla="*/ 43140 w 2124552"/>
              <a:gd name="connsiteY5" fmla="*/ 4301675 h 4301675"/>
              <a:gd name="connsiteX6" fmla="*/ 52064 w 2124552"/>
              <a:gd name="connsiteY6" fmla="*/ 4267289 h 4301675"/>
              <a:gd name="connsiteX7" fmla="*/ 58201 w 2124552"/>
              <a:gd name="connsiteY7" fmla="*/ 4206416 h 4301675"/>
              <a:gd name="connsiteX8" fmla="*/ 6616 w 2124552"/>
              <a:gd name="connsiteY8" fmla="*/ 4037540 h 4301675"/>
              <a:gd name="connsiteX9" fmla="*/ 0 w 2124552"/>
              <a:gd name="connsiteY9" fmla="*/ 4029521 h 4301675"/>
              <a:gd name="connsiteX10" fmla="*/ 2124546 w 2124552"/>
              <a:gd name="connsiteY10" fmla="*/ 0 h 4301675"/>
              <a:gd name="connsiteX0" fmla="*/ 2124546 w 2124552"/>
              <a:gd name="connsiteY0" fmla="*/ 0 h 4267289"/>
              <a:gd name="connsiteX1" fmla="*/ 2120341 w 2124552"/>
              <a:gd name="connsiteY1" fmla="*/ 3735089 h 4267289"/>
              <a:gd name="connsiteX2" fmla="*/ 2120113 w 2124552"/>
              <a:gd name="connsiteY2" fmla="*/ 3963333 h 4267289"/>
              <a:gd name="connsiteX3" fmla="*/ 61596 w 2124552"/>
              <a:gd name="connsiteY3" fmla="*/ 4157950 h 4267289"/>
              <a:gd name="connsiteX4" fmla="*/ 66876 w 2124552"/>
              <a:gd name="connsiteY4" fmla="*/ 4184105 h 4267289"/>
              <a:gd name="connsiteX5" fmla="*/ 52064 w 2124552"/>
              <a:gd name="connsiteY5" fmla="*/ 4267289 h 4267289"/>
              <a:gd name="connsiteX6" fmla="*/ 58201 w 2124552"/>
              <a:gd name="connsiteY6" fmla="*/ 4206416 h 4267289"/>
              <a:gd name="connsiteX7" fmla="*/ 6616 w 2124552"/>
              <a:gd name="connsiteY7" fmla="*/ 4037540 h 4267289"/>
              <a:gd name="connsiteX8" fmla="*/ 0 w 2124552"/>
              <a:gd name="connsiteY8" fmla="*/ 4029521 h 4267289"/>
              <a:gd name="connsiteX9" fmla="*/ 2124546 w 2124552"/>
              <a:gd name="connsiteY9" fmla="*/ 0 h 4267289"/>
              <a:gd name="connsiteX0" fmla="*/ 2124546 w 2124552"/>
              <a:gd name="connsiteY0" fmla="*/ 0 h 4214400"/>
              <a:gd name="connsiteX1" fmla="*/ 2120341 w 2124552"/>
              <a:gd name="connsiteY1" fmla="*/ 3735089 h 4214400"/>
              <a:gd name="connsiteX2" fmla="*/ 2120113 w 2124552"/>
              <a:gd name="connsiteY2" fmla="*/ 3963333 h 4214400"/>
              <a:gd name="connsiteX3" fmla="*/ 61596 w 2124552"/>
              <a:gd name="connsiteY3" fmla="*/ 4157950 h 4214400"/>
              <a:gd name="connsiteX4" fmla="*/ 66876 w 2124552"/>
              <a:gd name="connsiteY4" fmla="*/ 4184105 h 4214400"/>
              <a:gd name="connsiteX5" fmla="*/ 58201 w 2124552"/>
              <a:gd name="connsiteY5" fmla="*/ 4206416 h 4214400"/>
              <a:gd name="connsiteX6" fmla="*/ 6616 w 2124552"/>
              <a:gd name="connsiteY6" fmla="*/ 4037540 h 4214400"/>
              <a:gd name="connsiteX7" fmla="*/ 0 w 2124552"/>
              <a:gd name="connsiteY7" fmla="*/ 4029521 h 4214400"/>
              <a:gd name="connsiteX8" fmla="*/ 2124546 w 2124552"/>
              <a:gd name="connsiteY8" fmla="*/ 0 h 4214400"/>
              <a:gd name="connsiteX0" fmla="*/ 2124546 w 2124552"/>
              <a:gd name="connsiteY0" fmla="*/ 0 h 4184105"/>
              <a:gd name="connsiteX1" fmla="*/ 2120341 w 2124552"/>
              <a:gd name="connsiteY1" fmla="*/ 3735089 h 4184105"/>
              <a:gd name="connsiteX2" fmla="*/ 2120113 w 2124552"/>
              <a:gd name="connsiteY2" fmla="*/ 3963333 h 4184105"/>
              <a:gd name="connsiteX3" fmla="*/ 61596 w 2124552"/>
              <a:gd name="connsiteY3" fmla="*/ 4157950 h 4184105"/>
              <a:gd name="connsiteX4" fmla="*/ 66876 w 2124552"/>
              <a:gd name="connsiteY4" fmla="*/ 4184105 h 4184105"/>
              <a:gd name="connsiteX5" fmla="*/ 6616 w 2124552"/>
              <a:gd name="connsiteY5" fmla="*/ 4037540 h 4184105"/>
              <a:gd name="connsiteX6" fmla="*/ 0 w 2124552"/>
              <a:gd name="connsiteY6" fmla="*/ 4029521 h 4184105"/>
              <a:gd name="connsiteX7" fmla="*/ 2124546 w 2124552"/>
              <a:gd name="connsiteY7" fmla="*/ 0 h 4184105"/>
              <a:gd name="connsiteX0" fmla="*/ 2124546 w 2124552"/>
              <a:gd name="connsiteY0" fmla="*/ 0 h 4157950"/>
              <a:gd name="connsiteX1" fmla="*/ 2120341 w 2124552"/>
              <a:gd name="connsiteY1" fmla="*/ 3735089 h 4157950"/>
              <a:gd name="connsiteX2" fmla="*/ 2120113 w 2124552"/>
              <a:gd name="connsiteY2" fmla="*/ 3963333 h 4157950"/>
              <a:gd name="connsiteX3" fmla="*/ 61596 w 2124552"/>
              <a:gd name="connsiteY3" fmla="*/ 4157950 h 4157950"/>
              <a:gd name="connsiteX4" fmla="*/ 6616 w 2124552"/>
              <a:gd name="connsiteY4" fmla="*/ 4037540 h 4157950"/>
              <a:gd name="connsiteX5" fmla="*/ 0 w 2124552"/>
              <a:gd name="connsiteY5" fmla="*/ 4029521 h 4157950"/>
              <a:gd name="connsiteX6" fmla="*/ 2124546 w 2124552"/>
              <a:gd name="connsiteY6" fmla="*/ 0 h 415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552" h="4157950">
                <a:moveTo>
                  <a:pt x="2124546" y="0"/>
                </a:moveTo>
                <a:cubicBezTo>
                  <a:pt x="2124712" y="1431986"/>
                  <a:pt x="2121742" y="2490059"/>
                  <a:pt x="2120341" y="3735089"/>
                </a:cubicBezTo>
                <a:lnTo>
                  <a:pt x="2120113" y="3963333"/>
                </a:lnTo>
                <a:lnTo>
                  <a:pt x="61596" y="4157950"/>
                </a:lnTo>
                <a:lnTo>
                  <a:pt x="6616" y="4037540"/>
                </a:lnTo>
                <a:lnTo>
                  <a:pt x="0" y="4029521"/>
                </a:lnTo>
                <a:lnTo>
                  <a:pt x="2124546" y="0"/>
                </a:lnTo>
                <a:close/>
              </a:path>
            </a:pathLst>
          </a:custGeom>
          <a:solidFill>
            <a:schemeClr val="bg1">
              <a:alpha val="35000"/>
            </a:schemeClr>
          </a:solidFill>
          <a:ln>
            <a:solidFill>
              <a:schemeClr val="bg2"/>
            </a:solid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nvGrpSpPr>
          <p:cNvPr id="47" name="Group 46">
            <a:extLst>
              <a:ext uri="{FF2B5EF4-FFF2-40B4-BE49-F238E27FC236}">
                <a16:creationId xmlns:a16="http://schemas.microsoft.com/office/drawing/2014/main" id="{623437BC-D48F-4B22-B85D-DB138CD068CF}"/>
              </a:ext>
              <a:ext uri="{C183D7F6-B498-43B3-948B-1728B52AA6E4}">
                <adec:decorative xmlns:adec="http://schemas.microsoft.com/office/drawing/2017/decorative" val="1"/>
              </a:ext>
            </a:extLst>
          </p:cNvPr>
          <p:cNvGrpSpPr/>
          <p:nvPr userDrawn="1"/>
        </p:nvGrpSpPr>
        <p:grpSpPr>
          <a:xfrm>
            <a:off x="9962790" y="959275"/>
            <a:ext cx="1848156" cy="3465217"/>
            <a:chOff x="10172391" y="1176480"/>
            <a:chExt cx="1848418" cy="3465709"/>
          </a:xfrm>
        </p:grpSpPr>
        <p:sp>
          <p:nvSpPr>
            <p:cNvPr id="48" name="Freeform 102">
              <a:extLst>
                <a:ext uri="{FF2B5EF4-FFF2-40B4-BE49-F238E27FC236}">
                  <a16:creationId xmlns:a16="http://schemas.microsoft.com/office/drawing/2014/main" id="{25C7B070-6684-4CDB-A405-0966868D0BBC}"/>
                </a:ext>
              </a:extLst>
            </p:cNvPr>
            <p:cNvSpPr/>
            <p:nvPr/>
          </p:nvSpPr>
          <p:spPr bwMode="auto">
            <a:xfrm flipV="1">
              <a:off x="10236541" y="1176480"/>
              <a:ext cx="1784268" cy="3418002"/>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9" name="Freeform 103">
              <a:extLst>
                <a:ext uri="{FF2B5EF4-FFF2-40B4-BE49-F238E27FC236}">
                  <a16:creationId xmlns:a16="http://schemas.microsoft.com/office/drawing/2014/main" id="{C2CE16CA-4DEC-436A-A855-EE95B3B09770}"/>
                </a:ext>
              </a:extLst>
            </p:cNvPr>
            <p:cNvSpPr/>
            <p:nvPr/>
          </p:nvSpPr>
          <p:spPr bwMode="auto">
            <a:xfrm flipV="1">
              <a:off x="10172391" y="1501713"/>
              <a:ext cx="1593735" cy="3053011"/>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104">
              <a:extLst>
                <a:ext uri="{FF2B5EF4-FFF2-40B4-BE49-F238E27FC236}">
                  <a16:creationId xmlns:a16="http://schemas.microsoft.com/office/drawing/2014/main" id="{66330228-F6FC-4D87-9938-BDC13D9D5D67}"/>
                </a:ext>
              </a:extLst>
            </p:cNvPr>
            <p:cNvSpPr/>
            <p:nvPr/>
          </p:nvSpPr>
          <p:spPr bwMode="auto">
            <a:xfrm flipV="1">
              <a:off x="10283708" y="1411745"/>
              <a:ext cx="1700922" cy="3230444"/>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51" name="Straight Connector 50">
            <a:extLst>
              <a:ext uri="{FF2B5EF4-FFF2-40B4-BE49-F238E27FC236}">
                <a16:creationId xmlns:a16="http://schemas.microsoft.com/office/drawing/2014/main" id="{582331B3-793C-49E4-8390-D4C2171DB6D9}"/>
              </a:ext>
              <a:ext uri="{C183D7F6-B498-43B3-948B-1728B52AA6E4}">
                <adec:decorative xmlns:adec="http://schemas.microsoft.com/office/drawing/2017/decorative" val="1"/>
              </a:ext>
            </a:extLst>
          </p:cNvPr>
          <p:cNvCxnSpPr>
            <a:cxnSpLocks/>
          </p:cNvCxnSpPr>
          <p:nvPr userDrawn="1"/>
        </p:nvCxnSpPr>
        <p:spPr>
          <a:xfrm>
            <a:off x="9828706" y="2343351"/>
            <a:ext cx="0" cy="1944348"/>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073A69AF-99E3-4FBC-AD91-99CAC4FA5FCA}"/>
              </a:ext>
              <a:ext uri="{C183D7F6-B498-43B3-948B-1728B52AA6E4}">
                <adec:decorative xmlns:adec="http://schemas.microsoft.com/office/drawing/2017/decorative" val="1"/>
              </a:ext>
            </a:extLst>
          </p:cNvPr>
          <p:cNvSpPr/>
          <p:nvPr userDrawn="1"/>
        </p:nvSpPr>
        <p:spPr bwMode="auto">
          <a:xfrm>
            <a:off x="9733805" y="22582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26839E8E-2CFB-498C-ABEA-A84FC4433A43}"/>
              </a:ext>
              <a:ext uri="{C183D7F6-B498-43B3-948B-1728B52AA6E4}">
                <adec:decorative xmlns:adec="http://schemas.microsoft.com/office/drawing/2017/decorative" val="1"/>
              </a:ext>
            </a:extLst>
          </p:cNvPr>
          <p:cNvSpPr/>
          <p:nvPr userDrawn="1"/>
        </p:nvSpPr>
        <p:spPr bwMode="auto">
          <a:xfrm>
            <a:off x="9733805" y="282158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5550C21C-21C2-4036-A1DA-5D028A63D900}"/>
              </a:ext>
              <a:ext uri="{C183D7F6-B498-43B3-948B-1728B52AA6E4}">
                <adec:decorative xmlns:adec="http://schemas.microsoft.com/office/drawing/2017/decorative" val="1"/>
              </a:ext>
            </a:extLst>
          </p:cNvPr>
          <p:cNvSpPr/>
          <p:nvPr userDrawn="1"/>
        </p:nvSpPr>
        <p:spPr bwMode="auto">
          <a:xfrm>
            <a:off x="9733805" y="340595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Shape 54">
            <a:extLst>
              <a:ext uri="{FF2B5EF4-FFF2-40B4-BE49-F238E27FC236}">
                <a16:creationId xmlns:a16="http://schemas.microsoft.com/office/drawing/2014/main" id="{56BCF6C9-5638-4973-874E-71768ABB89C3}"/>
              </a:ext>
              <a:ext uri="{C183D7F6-B498-43B3-948B-1728B52AA6E4}">
                <adec:decorative xmlns:adec="http://schemas.microsoft.com/office/drawing/2017/decorative" val="1"/>
              </a:ext>
            </a:extLst>
          </p:cNvPr>
          <p:cNvSpPr/>
          <p:nvPr userDrawn="1"/>
        </p:nvSpPr>
        <p:spPr bwMode="auto">
          <a:xfrm>
            <a:off x="655690" y="4380642"/>
            <a:ext cx="11567347" cy="1125538"/>
          </a:xfrm>
          <a:custGeom>
            <a:avLst/>
            <a:gdLst>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906407 h 1125697"/>
              <a:gd name="connsiteX5" fmla="*/ 9190469 w 11568987"/>
              <a:gd name="connsiteY5" fmla="*/ 1105538 h 1125697"/>
              <a:gd name="connsiteX6" fmla="*/ 42333 w 11568987"/>
              <a:gd name="connsiteY6" fmla="*/ 1125697 h 1125697"/>
              <a:gd name="connsiteX7" fmla="*/ 0 w 11568987"/>
              <a:gd name="connsiteY7" fmla="*/ 1091576 h 1125697"/>
              <a:gd name="connsiteX8" fmla="*/ 8907725 w 11568987"/>
              <a:gd name="connsiteY8" fmla="*/ 267416 h 1125697"/>
              <a:gd name="connsiteX9" fmla="*/ 8926633 w 11568987"/>
              <a:gd name="connsiteY9" fmla="*/ 361073 h 1125697"/>
              <a:gd name="connsiteX10" fmla="*/ 9115124 w 11568987"/>
              <a:gd name="connsiteY10" fmla="*/ 531970 h 1125697"/>
              <a:gd name="connsiteX11" fmla="*/ 9190469 w 11568987"/>
              <a:gd name="connsiteY11" fmla="*/ 543361 h 1125697"/>
              <a:gd name="connsiteX12" fmla="*/ 9190469 w 11568987"/>
              <a:gd name="connsiteY12" fmla="*/ 716581 h 1125697"/>
              <a:gd name="connsiteX13" fmla="*/ 9191698 w 11568987"/>
              <a:gd name="connsiteY13" fmla="*/ 716468 h 1125697"/>
              <a:gd name="connsiteX14" fmla="*/ 9191698 w 11568987"/>
              <a:gd name="connsiteY14" fmla="*/ 521467 h 1125697"/>
              <a:gd name="connsiteX15" fmla="*/ 9209265 w 11568987"/>
              <a:gd name="connsiteY15" fmla="*/ 523238 h 1125697"/>
              <a:gd name="connsiteX16" fmla="*/ 9511311 w 11568987"/>
              <a:gd name="connsiteY16" fmla="*/ 221192 h 1125697"/>
              <a:gd name="connsiteX17" fmla="*/ 9506031 w 11568987"/>
              <a:gd name="connsiteY17" fmla="*/ 195037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1105538 h 1125697"/>
              <a:gd name="connsiteX5" fmla="*/ 42333 w 11568987"/>
              <a:gd name="connsiteY5" fmla="*/ 1125697 h 1125697"/>
              <a:gd name="connsiteX6" fmla="*/ 0 w 11568987"/>
              <a:gd name="connsiteY6" fmla="*/ 1091576 h 1125697"/>
              <a:gd name="connsiteX7" fmla="*/ 8907725 w 11568987"/>
              <a:gd name="connsiteY7" fmla="*/ 267416 h 1125697"/>
              <a:gd name="connsiteX8" fmla="*/ 8926633 w 11568987"/>
              <a:gd name="connsiteY8" fmla="*/ 361073 h 1125697"/>
              <a:gd name="connsiteX9" fmla="*/ 9115124 w 11568987"/>
              <a:gd name="connsiteY9" fmla="*/ 531970 h 1125697"/>
              <a:gd name="connsiteX10" fmla="*/ 9190469 w 11568987"/>
              <a:gd name="connsiteY10" fmla="*/ 543361 h 1125697"/>
              <a:gd name="connsiteX11" fmla="*/ 9190469 w 11568987"/>
              <a:gd name="connsiteY11" fmla="*/ 716581 h 1125697"/>
              <a:gd name="connsiteX12" fmla="*/ 9191698 w 11568987"/>
              <a:gd name="connsiteY12" fmla="*/ 716468 h 1125697"/>
              <a:gd name="connsiteX13" fmla="*/ 9191698 w 11568987"/>
              <a:gd name="connsiteY13" fmla="*/ 521467 h 1125697"/>
              <a:gd name="connsiteX14" fmla="*/ 9209265 w 11568987"/>
              <a:gd name="connsiteY14" fmla="*/ 523238 h 1125697"/>
              <a:gd name="connsiteX15" fmla="*/ 9511311 w 11568987"/>
              <a:gd name="connsiteY15" fmla="*/ 221192 h 1125697"/>
              <a:gd name="connsiteX16" fmla="*/ 9506031 w 11568987"/>
              <a:gd name="connsiteY16" fmla="*/ 195037 h 1125697"/>
              <a:gd name="connsiteX17" fmla="*/ 11568987 w 11568987"/>
              <a:gd name="connsiteY17"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0469 w 11568987"/>
              <a:gd name="connsiteY3" fmla="*/ 1105538 h 1125697"/>
              <a:gd name="connsiteX4" fmla="*/ 42333 w 11568987"/>
              <a:gd name="connsiteY4" fmla="*/ 1125697 h 1125697"/>
              <a:gd name="connsiteX5" fmla="*/ 0 w 11568987"/>
              <a:gd name="connsiteY5" fmla="*/ 1091576 h 1125697"/>
              <a:gd name="connsiteX6" fmla="*/ 8907725 w 11568987"/>
              <a:gd name="connsiteY6" fmla="*/ 267416 h 1125697"/>
              <a:gd name="connsiteX7" fmla="*/ 8926633 w 11568987"/>
              <a:gd name="connsiteY7" fmla="*/ 361073 h 1125697"/>
              <a:gd name="connsiteX8" fmla="*/ 9115124 w 11568987"/>
              <a:gd name="connsiteY8" fmla="*/ 531970 h 1125697"/>
              <a:gd name="connsiteX9" fmla="*/ 9190469 w 11568987"/>
              <a:gd name="connsiteY9" fmla="*/ 543361 h 1125697"/>
              <a:gd name="connsiteX10" fmla="*/ 9190469 w 11568987"/>
              <a:gd name="connsiteY10" fmla="*/ 716581 h 1125697"/>
              <a:gd name="connsiteX11" fmla="*/ 9191698 w 11568987"/>
              <a:gd name="connsiteY11" fmla="*/ 716468 h 1125697"/>
              <a:gd name="connsiteX12" fmla="*/ 9191698 w 11568987"/>
              <a:gd name="connsiteY12" fmla="*/ 521467 h 1125697"/>
              <a:gd name="connsiteX13" fmla="*/ 9209265 w 11568987"/>
              <a:gd name="connsiteY13" fmla="*/ 523238 h 1125697"/>
              <a:gd name="connsiteX14" fmla="*/ 9511311 w 11568987"/>
              <a:gd name="connsiteY14" fmla="*/ 221192 h 1125697"/>
              <a:gd name="connsiteX15" fmla="*/ 9506031 w 11568987"/>
              <a:gd name="connsiteY15" fmla="*/ 195037 h 1125697"/>
              <a:gd name="connsiteX16" fmla="*/ 11568987 w 11568987"/>
              <a:gd name="connsiteY16"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42333 w 11568987"/>
              <a:gd name="connsiteY3" fmla="*/ 1125697 h 1125697"/>
              <a:gd name="connsiteX4" fmla="*/ 0 w 11568987"/>
              <a:gd name="connsiteY4" fmla="*/ 1091576 h 1125697"/>
              <a:gd name="connsiteX5" fmla="*/ 8907725 w 11568987"/>
              <a:gd name="connsiteY5" fmla="*/ 267416 h 1125697"/>
              <a:gd name="connsiteX6" fmla="*/ 8926633 w 11568987"/>
              <a:gd name="connsiteY6" fmla="*/ 361073 h 1125697"/>
              <a:gd name="connsiteX7" fmla="*/ 9115124 w 11568987"/>
              <a:gd name="connsiteY7" fmla="*/ 531970 h 1125697"/>
              <a:gd name="connsiteX8" fmla="*/ 9190469 w 11568987"/>
              <a:gd name="connsiteY8" fmla="*/ 543361 h 1125697"/>
              <a:gd name="connsiteX9" fmla="*/ 9190469 w 11568987"/>
              <a:gd name="connsiteY9" fmla="*/ 716581 h 1125697"/>
              <a:gd name="connsiteX10" fmla="*/ 9191698 w 11568987"/>
              <a:gd name="connsiteY10" fmla="*/ 716468 h 1125697"/>
              <a:gd name="connsiteX11" fmla="*/ 9191698 w 11568987"/>
              <a:gd name="connsiteY11" fmla="*/ 521467 h 1125697"/>
              <a:gd name="connsiteX12" fmla="*/ 9209265 w 11568987"/>
              <a:gd name="connsiteY12" fmla="*/ 523238 h 1125697"/>
              <a:gd name="connsiteX13" fmla="*/ 9511311 w 11568987"/>
              <a:gd name="connsiteY13" fmla="*/ 221192 h 1125697"/>
              <a:gd name="connsiteX14" fmla="*/ 9506031 w 11568987"/>
              <a:gd name="connsiteY14" fmla="*/ 195037 h 1125697"/>
              <a:gd name="connsiteX15" fmla="*/ 11568987 w 11568987"/>
              <a:gd name="connsiteY15"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716468 h 1125697"/>
              <a:gd name="connsiteX10" fmla="*/ 9191698 w 11568987"/>
              <a:gd name="connsiteY10" fmla="*/ 521467 h 1125697"/>
              <a:gd name="connsiteX11" fmla="*/ 9209265 w 11568987"/>
              <a:gd name="connsiteY11" fmla="*/ 523238 h 1125697"/>
              <a:gd name="connsiteX12" fmla="*/ 9511311 w 11568987"/>
              <a:gd name="connsiteY12" fmla="*/ 221192 h 1125697"/>
              <a:gd name="connsiteX13" fmla="*/ 9506031 w 11568987"/>
              <a:gd name="connsiteY13" fmla="*/ 195037 h 1125697"/>
              <a:gd name="connsiteX14" fmla="*/ 11568987 w 11568987"/>
              <a:gd name="connsiteY14"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521467 h 1125697"/>
              <a:gd name="connsiteX10" fmla="*/ 9209265 w 11568987"/>
              <a:gd name="connsiteY10" fmla="*/ 523238 h 1125697"/>
              <a:gd name="connsiteX11" fmla="*/ 9511311 w 11568987"/>
              <a:gd name="connsiteY11" fmla="*/ 221192 h 1125697"/>
              <a:gd name="connsiteX12" fmla="*/ 9506031 w 11568987"/>
              <a:gd name="connsiteY12" fmla="*/ 195037 h 1125697"/>
              <a:gd name="connsiteX13" fmla="*/ 11568987 w 11568987"/>
              <a:gd name="connsiteY13"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1698 w 11568987"/>
              <a:gd name="connsiteY8" fmla="*/ 521467 h 1125697"/>
              <a:gd name="connsiteX9" fmla="*/ 9209265 w 11568987"/>
              <a:gd name="connsiteY9" fmla="*/ 523238 h 1125697"/>
              <a:gd name="connsiteX10" fmla="*/ 9511311 w 11568987"/>
              <a:gd name="connsiteY10" fmla="*/ 221192 h 1125697"/>
              <a:gd name="connsiteX11" fmla="*/ 9506031 w 11568987"/>
              <a:gd name="connsiteY11" fmla="*/ 195037 h 1125697"/>
              <a:gd name="connsiteX12" fmla="*/ 11568987 w 11568987"/>
              <a:gd name="connsiteY12" fmla="*/ 0 h 11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8987" h="1125697">
                <a:moveTo>
                  <a:pt x="11568987" y="0"/>
                </a:moveTo>
                <a:lnTo>
                  <a:pt x="11568987" y="1105538"/>
                </a:lnTo>
                <a:lnTo>
                  <a:pt x="42333" y="1125697"/>
                </a:lnTo>
                <a:lnTo>
                  <a:pt x="0" y="1091576"/>
                </a:lnTo>
                <a:lnTo>
                  <a:pt x="8907725" y="267416"/>
                </a:lnTo>
                <a:lnTo>
                  <a:pt x="8926633" y="361073"/>
                </a:lnTo>
                <a:cubicBezTo>
                  <a:pt x="8961023" y="442380"/>
                  <a:pt x="9030002" y="505494"/>
                  <a:pt x="9115124" y="531970"/>
                </a:cubicBezTo>
                <a:lnTo>
                  <a:pt x="9190469" y="543361"/>
                </a:lnTo>
                <a:cubicBezTo>
                  <a:pt x="9190879" y="536063"/>
                  <a:pt x="9191288" y="528765"/>
                  <a:pt x="9191698" y="521467"/>
                </a:cubicBezTo>
                <a:lnTo>
                  <a:pt x="9209265" y="523238"/>
                </a:lnTo>
                <a:cubicBezTo>
                  <a:pt x="9376080" y="523238"/>
                  <a:pt x="9511311" y="388007"/>
                  <a:pt x="9511311" y="221192"/>
                </a:cubicBezTo>
                <a:lnTo>
                  <a:pt x="9506031" y="195037"/>
                </a:lnTo>
                <a:lnTo>
                  <a:pt x="11568987" y="0"/>
                </a:lnTo>
                <a:close/>
              </a:path>
            </a:pathLst>
          </a:custGeom>
          <a:solidFill>
            <a:schemeClr val="bg1">
              <a:alpha val="35000"/>
            </a:schemeClr>
          </a:solidFill>
          <a:ln>
            <a:no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56" name="Rectangle 55">
            <a:extLst>
              <a:ext uri="{FF2B5EF4-FFF2-40B4-BE49-F238E27FC236}">
                <a16:creationId xmlns:a16="http://schemas.microsoft.com/office/drawing/2014/main" id="{BADF541B-7AA8-43F9-B9C8-5D71733CBD82}"/>
              </a:ext>
              <a:ext uri="{C183D7F6-B498-43B3-948B-1728B52AA6E4}">
                <adec:decorative xmlns:adec="http://schemas.microsoft.com/office/drawing/2017/decorative" val="1"/>
              </a:ext>
            </a:extLst>
          </p:cNvPr>
          <p:cNvSpPr/>
          <p:nvPr userDrawn="1"/>
        </p:nvSpPr>
        <p:spPr bwMode="auto">
          <a:xfrm>
            <a:off x="-13990" y="5485143"/>
            <a:ext cx="12190271" cy="139190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7" name="Straight Arrow Connector 56">
            <a:extLst>
              <a:ext uri="{FF2B5EF4-FFF2-40B4-BE49-F238E27FC236}">
                <a16:creationId xmlns:a16="http://schemas.microsoft.com/office/drawing/2014/main" id="{2D7A7890-4227-4266-A28B-F9375E3A3788}"/>
              </a:ext>
              <a:ext uri="{C183D7F6-B498-43B3-948B-1728B52AA6E4}">
                <adec:decorative xmlns:adec="http://schemas.microsoft.com/office/drawing/2017/decorative" val="1"/>
              </a:ext>
            </a:extLst>
          </p:cNvPr>
          <p:cNvCxnSpPr/>
          <p:nvPr userDrawn="1"/>
        </p:nvCxnSpPr>
        <p:spPr>
          <a:xfrm flipV="1">
            <a:off x="865" y="5467208"/>
            <a:ext cx="11922963" cy="13222"/>
          </a:xfrm>
          <a:prstGeom prst="straightConnector1">
            <a:avLst/>
          </a:prstGeom>
          <a:ln w="19050">
            <a:solidFill>
              <a:schemeClr val="bg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0EB509E4-6772-44C7-AEB3-4A54C813A11E}"/>
              </a:ext>
              <a:ext uri="{C183D7F6-B498-43B3-948B-1728B52AA6E4}">
                <adec:decorative xmlns:adec="http://schemas.microsoft.com/office/drawing/2017/decorative" val="1"/>
              </a:ext>
            </a:extLst>
          </p:cNvPr>
          <p:cNvSpPr/>
          <p:nvPr userDrawn="1"/>
        </p:nvSpPr>
        <p:spPr bwMode="auto">
          <a:xfrm>
            <a:off x="9733805"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59" name="Straight Connector 58">
            <a:extLst>
              <a:ext uri="{FF2B5EF4-FFF2-40B4-BE49-F238E27FC236}">
                <a16:creationId xmlns:a16="http://schemas.microsoft.com/office/drawing/2014/main" id="{264E76DC-D1B6-492E-82A8-C660A33E4011}"/>
              </a:ext>
              <a:ext uri="{C183D7F6-B498-43B3-948B-1728B52AA6E4}">
                <adec:decorative xmlns:adec="http://schemas.microsoft.com/office/drawing/2017/decorative" val="1"/>
              </a:ext>
            </a:extLst>
          </p:cNvPr>
          <p:cNvCxnSpPr/>
          <p:nvPr userDrawn="1"/>
        </p:nvCxnSpPr>
        <p:spPr>
          <a:xfrm>
            <a:off x="2685497" y="5657899"/>
            <a:ext cx="0" cy="365708"/>
          </a:xfrm>
          <a:prstGeom prst="line">
            <a:avLst/>
          </a:prstGeom>
          <a:noFill/>
          <a:ln w="19050" cap="flat" cmpd="sng" algn="ctr">
            <a:solidFill>
              <a:schemeClr val="bg2"/>
            </a:solidFill>
            <a:prstDash val="solid"/>
            <a:headEnd type="none"/>
            <a:tailEnd type="none"/>
          </a:ln>
          <a:effectLst/>
        </p:spPr>
      </p:cxnSp>
      <p:cxnSp>
        <p:nvCxnSpPr>
          <p:cNvPr id="60" name="Straight Connector 59">
            <a:extLst>
              <a:ext uri="{FF2B5EF4-FFF2-40B4-BE49-F238E27FC236}">
                <a16:creationId xmlns:a16="http://schemas.microsoft.com/office/drawing/2014/main" id="{48CF1EC7-A6AC-4E46-8E95-1E0C27524661}"/>
              </a:ext>
              <a:ext uri="{C183D7F6-B498-43B3-948B-1728B52AA6E4}">
                <adec:decorative xmlns:adec="http://schemas.microsoft.com/office/drawing/2017/decorative" val="1"/>
              </a:ext>
            </a:extLst>
          </p:cNvPr>
          <p:cNvCxnSpPr/>
          <p:nvPr userDrawn="1"/>
        </p:nvCxnSpPr>
        <p:spPr>
          <a:xfrm>
            <a:off x="9831411" y="5657899"/>
            <a:ext cx="0" cy="365708"/>
          </a:xfrm>
          <a:prstGeom prst="line">
            <a:avLst/>
          </a:prstGeom>
          <a:noFill/>
          <a:ln w="19050" cap="flat" cmpd="sng" algn="ctr">
            <a:solidFill>
              <a:schemeClr val="bg2"/>
            </a:solidFill>
            <a:prstDash val="solid"/>
            <a:headEnd type="none"/>
            <a:tailEnd type="none"/>
          </a:ln>
          <a:effectLst/>
        </p:spPr>
      </p:cxnSp>
      <p:sp>
        <p:nvSpPr>
          <p:cNvPr id="61" name="Oval 60">
            <a:extLst>
              <a:ext uri="{FF2B5EF4-FFF2-40B4-BE49-F238E27FC236}">
                <a16:creationId xmlns:a16="http://schemas.microsoft.com/office/drawing/2014/main" id="{41B26099-AD91-4571-819E-1964B4E111CC}"/>
              </a:ext>
              <a:ext uri="{C183D7F6-B498-43B3-948B-1728B52AA6E4}">
                <adec:decorative xmlns:adec="http://schemas.microsoft.com/office/drawing/2017/decorative" val="1"/>
              </a:ext>
            </a:extLst>
          </p:cNvPr>
          <p:cNvSpPr/>
          <p:nvPr userDrawn="1"/>
        </p:nvSpPr>
        <p:spPr bwMode="auto">
          <a:xfrm>
            <a:off x="2586824"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2" name="Straight Arrow Connector 61">
            <a:extLst>
              <a:ext uri="{FF2B5EF4-FFF2-40B4-BE49-F238E27FC236}">
                <a16:creationId xmlns:a16="http://schemas.microsoft.com/office/drawing/2014/main" id="{13EDB265-2AD1-44CB-943F-BB877A908B3F}"/>
              </a:ext>
              <a:ext uri="{C183D7F6-B498-43B3-948B-1728B52AA6E4}">
                <adec:decorative xmlns:adec="http://schemas.microsoft.com/office/drawing/2017/decorative" val="1"/>
              </a:ext>
            </a:extLst>
          </p:cNvPr>
          <p:cNvCxnSpPr/>
          <p:nvPr userDrawn="1"/>
        </p:nvCxnSpPr>
        <p:spPr>
          <a:xfrm flipV="1">
            <a:off x="583881" y="4632438"/>
            <a:ext cx="8947598" cy="841057"/>
          </a:xfrm>
          <a:prstGeom prst="straightConnector1">
            <a:avLst/>
          </a:prstGeom>
          <a:ln w="1905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E73CFC79-9E48-455A-A725-9090124A1411}"/>
              </a:ext>
              <a:ext uri="{C183D7F6-B498-43B3-948B-1728B52AA6E4}">
                <adec:decorative xmlns:adec="http://schemas.microsoft.com/office/drawing/2017/decorative" val="1"/>
              </a:ext>
            </a:extLst>
          </p:cNvPr>
          <p:cNvSpPr/>
          <p:nvPr userDrawn="1"/>
        </p:nvSpPr>
        <p:spPr bwMode="auto">
          <a:xfrm>
            <a:off x="9529746" y="4304376"/>
            <a:ext cx="604005" cy="604005"/>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64" name="Straight Connector 63">
            <a:extLst>
              <a:ext uri="{FF2B5EF4-FFF2-40B4-BE49-F238E27FC236}">
                <a16:creationId xmlns:a16="http://schemas.microsoft.com/office/drawing/2014/main" id="{D7CEDB05-AAF1-42BC-BA52-A45CB9CD52B3}"/>
              </a:ext>
              <a:ext uri="{C183D7F6-B498-43B3-948B-1728B52AA6E4}">
                <adec:decorative xmlns:adec="http://schemas.microsoft.com/office/drawing/2017/decorative" val="1"/>
              </a:ext>
            </a:extLst>
          </p:cNvPr>
          <p:cNvCxnSpPr/>
          <p:nvPr userDrawn="1"/>
        </p:nvCxnSpPr>
        <p:spPr>
          <a:xfrm>
            <a:off x="6274913" y="5657899"/>
            <a:ext cx="0" cy="365708"/>
          </a:xfrm>
          <a:prstGeom prst="line">
            <a:avLst/>
          </a:prstGeom>
          <a:noFill/>
          <a:ln w="19050" cap="flat" cmpd="sng" algn="ctr">
            <a:solidFill>
              <a:schemeClr val="bg2"/>
            </a:solidFill>
            <a:prstDash val="solid"/>
            <a:headEnd type="none"/>
            <a:tailEnd type="none"/>
          </a:ln>
          <a:effectLst/>
        </p:spPr>
      </p:cxnSp>
      <p:sp>
        <p:nvSpPr>
          <p:cNvPr id="65" name="Oval 64">
            <a:extLst>
              <a:ext uri="{FF2B5EF4-FFF2-40B4-BE49-F238E27FC236}">
                <a16:creationId xmlns:a16="http://schemas.microsoft.com/office/drawing/2014/main" id="{3F76F5ED-35D3-4F91-BF5B-32B19F6BD9FD}"/>
              </a:ext>
              <a:ext uri="{C183D7F6-B498-43B3-948B-1728B52AA6E4}">
                <adec:decorative xmlns:adec="http://schemas.microsoft.com/office/drawing/2017/decorative" val="1"/>
              </a:ext>
            </a:extLst>
          </p:cNvPr>
          <p:cNvSpPr/>
          <p:nvPr userDrawn="1"/>
        </p:nvSpPr>
        <p:spPr bwMode="auto">
          <a:xfrm>
            <a:off x="6176240"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6" name="Group 65">
            <a:extLst>
              <a:ext uri="{FF2B5EF4-FFF2-40B4-BE49-F238E27FC236}">
                <a16:creationId xmlns:a16="http://schemas.microsoft.com/office/drawing/2014/main" id="{0B7B1D58-B143-4C68-98B9-98936E5EFBAC}"/>
              </a:ext>
              <a:ext uri="{C183D7F6-B498-43B3-948B-1728B52AA6E4}">
                <adec:decorative xmlns:adec="http://schemas.microsoft.com/office/drawing/2017/decorative" val="1"/>
              </a:ext>
            </a:extLst>
          </p:cNvPr>
          <p:cNvGrpSpPr/>
          <p:nvPr userDrawn="1"/>
        </p:nvGrpSpPr>
        <p:grpSpPr>
          <a:xfrm>
            <a:off x="9526335" y="4300526"/>
            <a:ext cx="617942" cy="617942"/>
            <a:chOff x="2750671" y="2758885"/>
            <a:chExt cx="617942" cy="617942"/>
          </a:xfrm>
        </p:grpSpPr>
        <p:sp>
          <p:nvSpPr>
            <p:cNvPr id="67" name="Oval 66">
              <a:extLst>
                <a:ext uri="{FF2B5EF4-FFF2-40B4-BE49-F238E27FC236}">
                  <a16:creationId xmlns:a16="http://schemas.microsoft.com/office/drawing/2014/main" id="{A7F98F4A-C8EF-43EC-A299-428C91021EDD}"/>
                </a:ext>
              </a:extLst>
            </p:cNvPr>
            <p:cNvSpPr/>
            <p:nvPr/>
          </p:nvSpPr>
          <p:spPr bwMode="auto">
            <a:xfrm>
              <a:off x="2750671" y="2758885"/>
              <a:ext cx="617942" cy="617942"/>
            </a:xfrm>
            <a:prstGeom prst="ellipse">
              <a:avLst/>
            </a:prstGeom>
            <a:solidFill>
              <a:srgbClr val="000C47"/>
            </a:solidFill>
            <a:ln w="539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68" name="Freeform 5">
              <a:extLst>
                <a:ext uri="{FF2B5EF4-FFF2-40B4-BE49-F238E27FC236}">
                  <a16:creationId xmlns:a16="http://schemas.microsoft.com/office/drawing/2014/main" id="{F9B3C4F7-1A5D-4AF6-AE69-31661A90D5BD}"/>
                </a:ext>
              </a:extLst>
            </p:cNvPr>
            <p:cNvSpPr>
              <a:spLocks/>
            </p:cNvSpPr>
            <p:nvPr/>
          </p:nvSpPr>
          <p:spPr bwMode="auto">
            <a:xfrm>
              <a:off x="3067502" y="2876550"/>
              <a:ext cx="188647" cy="226922"/>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40" y="0"/>
                    <a:pt x="17" y="22"/>
                    <a:pt x="17" y="49"/>
                  </a:cubicBezTo>
                  <a:cubicBezTo>
                    <a:pt x="17" y="71"/>
                    <a:pt x="31" y="89"/>
                    <a:pt x="50" y="96"/>
                  </a:cubicBezTo>
                  <a:cubicBezTo>
                    <a:pt x="22" y="103"/>
                    <a:pt x="0" y="129"/>
                    <a:pt x="0" y="160"/>
                  </a:cubicBezTo>
                  <a:close/>
                </a:path>
              </a:pathLst>
            </a:custGeom>
            <a:solidFill>
              <a:srgbClr val="6C8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69" name="Freeform 6">
              <a:extLst>
                <a:ext uri="{FF2B5EF4-FFF2-40B4-BE49-F238E27FC236}">
                  <a16:creationId xmlns:a16="http://schemas.microsoft.com/office/drawing/2014/main" id="{ED78869E-C051-4C7F-A5BB-D0E9A82C3BD5}"/>
                </a:ext>
              </a:extLst>
            </p:cNvPr>
            <p:cNvSpPr>
              <a:spLocks/>
            </p:cNvSpPr>
            <p:nvPr/>
          </p:nvSpPr>
          <p:spPr bwMode="auto">
            <a:xfrm>
              <a:off x="2863135" y="2927129"/>
              <a:ext cx="146953" cy="176343"/>
            </a:xfrm>
            <a:custGeom>
              <a:avLst/>
              <a:gdLst>
                <a:gd name="T0" fmla="*/ 0 w 121"/>
                <a:gd name="T1" fmla="*/ 145 h 145"/>
                <a:gd name="T2" fmla="*/ 121 w 121"/>
                <a:gd name="T3" fmla="*/ 145 h 145"/>
                <a:gd name="T4" fmla="*/ 75 w 121"/>
                <a:gd name="T5" fmla="*/ 87 h 145"/>
                <a:gd name="T6" fmla="*/ 105 w 121"/>
                <a:gd name="T7" fmla="*/ 44 h 145"/>
                <a:gd name="T8" fmla="*/ 61 w 121"/>
                <a:gd name="T9" fmla="*/ 0 h 145"/>
                <a:gd name="T10" fmla="*/ 16 w 121"/>
                <a:gd name="T11" fmla="*/ 44 h 145"/>
                <a:gd name="T12" fmla="*/ 46 w 121"/>
                <a:gd name="T13" fmla="*/ 87 h 145"/>
                <a:gd name="T14" fmla="*/ 0 w 121"/>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45">
                  <a:moveTo>
                    <a:pt x="0" y="145"/>
                  </a:moveTo>
                  <a:cubicBezTo>
                    <a:pt x="121" y="145"/>
                    <a:pt x="121" y="145"/>
                    <a:pt x="121" y="145"/>
                  </a:cubicBezTo>
                  <a:cubicBezTo>
                    <a:pt x="121" y="117"/>
                    <a:pt x="101" y="93"/>
                    <a:pt x="75" y="87"/>
                  </a:cubicBezTo>
                  <a:cubicBezTo>
                    <a:pt x="93" y="81"/>
                    <a:pt x="105" y="64"/>
                    <a:pt x="105" y="44"/>
                  </a:cubicBezTo>
                  <a:cubicBezTo>
                    <a:pt x="105" y="20"/>
                    <a:pt x="85" y="0"/>
                    <a:pt x="61" y="0"/>
                  </a:cubicBezTo>
                  <a:cubicBezTo>
                    <a:pt x="36" y="0"/>
                    <a:pt x="16" y="20"/>
                    <a:pt x="16" y="44"/>
                  </a:cubicBezTo>
                  <a:cubicBezTo>
                    <a:pt x="16" y="64"/>
                    <a:pt x="28" y="81"/>
                    <a:pt x="46" y="87"/>
                  </a:cubicBezTo>
                  <a:cubicBezTo>
                    <a:pt x="20" y="93"/>
                    <a:pt x="0" y="117"/>
                    <a:pt x="0" y="145"/>
                  </a:cubicBezTo>
                  <a:close/>
                </a:path>
              </a:pathLst>
            </a:custGeom>
            <a:solidFill>
              <a:srgbClr val="B6C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70" name="Oval 69">
              <a:extLst>
                <a:ext uri="{FF2B5EF4-FFF2-40B4-BE49-F238E27FC236}">
                  <a16:creationId xmlns:a16="http://schemas.microsoft.com/office/drawing/2014/main" id="{D0062FE8-FFC7-42EA-A823-30B49632F7B7}"/>
                </a:ext>
              </a:extLst>
            </p:cNvPr>
            <p:cNvSpPr/>
            <p:nvPr/>
          </p:nvSpPr>
          <p:spPr bwMode="auto">
            <a:xfrm>
              <a:off x="2750671" y="2758885"/>
              <a:ext cx="617942" cy="617942"/>
            </a:xfrm>
            <a:prstGeom prst="ellipse">
              <a:avLst/>
            </a:prstGeom>
            <a:noFill/>
            <a:ln w="317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71" name="Freeform 7">
              <a:extLst>
                <a:ext uri="{FF2B5EF4-FFF2-40B4-BE49-F238E27FC236}">
                  <a16:creationId xmlns:a16="http://schemas.microsoft.com/office/drawing/2014/main" id="{E6155F47-DDBB-430C-B9A7-5771737F3136}"/>
                </a:ext>
              </a:extLst>
            </p:cNvPr>
            <p:cNvSpPr>
              <a:spLocks/>
            </p:cNvSpPr>
            <p:nvPr/>
          </p:nvSpPr>
          <p:spPr bwMode="auto">
            <a:xfrm>
              <a:off x="2936270" y="2996163"/>
              <a:ext cx="235125" cy="282969"/>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39" y="0"/>
                    <a:pt x="17" y="22"/>
                    <a:pt x="17" y="49"/>
                  </a:cubicBezTo>
                  <a:cubicBezTo>
                    <a:pt x="17" y="71"/>
                    <a:pt x="31" y="89"/>
                    <a:pt x="50" y="96"/>
                  </a:cubicBezTo>
                  <a:cubicBezTo>
                    <a:pt x="21" y="103"/>
                    <a:pt x="0" y="129"/>
                    <a:pt x="0" y="16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72" name="Group 71" descr="Icon of a person with one arm" title="One Arm">
            <a:extLst>
              <a:ext uri="{FF2B5EF4-FFF2-40B4-BE49-F238E27FC236}">
                <a16:creationId xmlns:a16="http://schemas.microsoft.com/office/drawing/2014/main" id="{17010DCB-C9CF-4B4C-8B2C-CAABFBB4B2E7}"/>
              </a:ext>
            </a:extLst>
          </p:cNvPr>
          <p:cNvGrpSpPr>
            <a:grpSpLocks noChangeAspect="1"/>
          </p:cNvGrpSpPr>
          <p:nvPr userDrawn="1"/>
        </p:nvGrpSpPr>
        <p:grpSpPr>
          <a:xfrm>
            <a:off x="1472381" y="5694330"/>
            <a:ext cx="371735" cy="914400"/>
            <a:chOff x="2460424" y="1681878"/>
            <a:chExt cx="927100" cy="2277610"/>
          </a:xfrm>
          <a:solidFill>
            <a:schemeClr val="bg1"/>
          </a:solidFill>
        </p:grpSpPr>
        <p:sp>
          <p:nvSpPr>
            <p:cNvPr id="73" name="object 11">
              <a:extLst>
                <a:ext uri="{FF2B5EF4-FFF2-40B4-BE49-F238E27FC236}">
                  <a16:creationId xmlns:a16="http://schemas.microsoft.com/office/drawing/2014/main" id="{EFA3A00F-4F82-4464-BD7E-B291D0DBE2AC}"/>
                </a:ext>
              </a:extLst>
            </p:cNvPr>
            <p:cNvSpPr/>
            <p:nvPr/>
          </p:nvSpPr>
          <p:spPr>
            <a:xfrm>
              <a:off x="2460424" y="1681878"/>
              <a:ext cx="927100" cy="1621791"/>
            </a:xfrm>
            <a:custGeom>
              <a:avLst/>
              <a:gdLst/>
              <a:ahLst/>
              <a:cxnLst/>
              <a:rect l="l" t="t" r="r" b="b"/>
              <a:pathLst>
                <a:path w="927100" h="1621789">
                  <a:moveTo>
                    <a:pt x="482531" y="0"/>
                  </a:moveTo>
                  <a:lnTo>
                    <a:pt x="434669" y="2467"/>
                  </a:lnTo>
                  <a:lnTo>
                    <a:pt x="388551" y="10502"/>
                  </a:lnTo>
                  <a:lnTo>
                    <a:pt x="344514" y="23781"/>
                  </a:lnTo>
                  <a:lnTo>
                    <a:pt x="302898" y="41980"/>
                  </a:lnTo>
                  <a:lnTo>
                    <a:pt x="264039" y="64775"/>
                  </a:lnTo>
                  <a:lnTo>
                    <a:pt x="228276" y="91841"/>
                  </a:lnTo>
                  <a:lnTo>
                    <a:pt x="195947" y="122855"/>
                  </a:lnTo>
                  <a:lnTo>
                    <a:pt x="167389" y="157492"/>
                  </a:lnTo>
                  <a:lnTo>
                    <a:pt x="142942" y="195428"/>
                  </a:lnTo>
                  <a:lnTo>
                    <a:pt x="122942" y="236340"/>
                  </a:lnTo>
                  <a:lnTo>
                    <a:pt x="107728" y="279903"/>
                  </a:lnTo>
                  <a:lnTo>
                    <a:pt x="97638" y="325792"/>
                  </a:lnTo>
                  <a:lnTo>
                    <a:pt x="93010" y="373684"/>
                  </a:lnTo>
                  <a:lnTo>
                    <a:pt x="90632" y="412950"/>
                  </a:lnTo>
                  <a:lnTo>
                    <a:pt x="83280" y="434870"/>
                  </a:lnTo>
                  <a:lnTo>
                    <a:pt x="65047" y="447394"/>
                  </a:lnTo>
                  <a:lnTo>
                    <a:pt x="30030" y="458469"/>
                  </a:lnTo>
                  <a:lnTo>
                    <a:pt x="30667" y="509689"/>
                  </a:lnTo>
                  <a:lnTo>
                    <a:pt x="42062" y="558022"/>
                  </a:lnTo>
                  <a:lnTo>
                    <a:pt x="63115" y="601956"/>
                  </a:lnTo>
                  <a:lnTo>
                    <a:pt x="92685" y="639814"/>
                  </a:lnTo>
                  <a:lnTo>
                    <a:pt x="129643" y="669958"/>
                  </a:lnTo>
                  <a:lnTo>
                    <a:pt x="172859" y="690751"/>
                  </a:lnTo>
                  <a:lnTo>
                    <a:pt x="221203" y="700557"/>
                  </a:lnTo>
                  <a:lnTo>
                    <a:pt x="253925" y="707931"/>
                  </a:lnTo>
                  <a:lnTo>
                    <a:pt x="281274" y="722510"/>
                  </a:lnTo>
                  <a:lnTo>
                    <a:pt x="333649" y="760590"/>
                  </a:lnTo>
                  <a:lnTo>
                    <a:pt x="305608" y="773226"/>
                  </a:lnTo>
                  <a:lnTo>
                    <a:pt x="256917" y="796978"/>
                  </a:lnTo>
                  <a:lnTo>
                    <a:pt x="212210" y="823630"/>
                  </a:lnTo>
                  <a:lnTo>
                    <a:pt x="171572" y="853215"/>
                  </a:lnTo>
                  <a:lnTo>
                    <a:pt x="135091" y="885765"/>
                  </a:lnTo>
                  <a:lnTo>
                    <a:pt x="102854" y="921313"/>
                  </a:lnTo>
                  <a:lnTo>
                    <a:pt x="74950" y="959892"/>
                  </a:lnTo>
                  <a:lnTo>
                    <a:pt x="51464" y="1001535"/>
                  </a:lnTo>
                  <a:lnTo>
                    <a:pt x="32485" y="1046275"/>
                  </a:lnTo>
                  <a:lnTo>
                    <a:pt x="18100" y="1094144"/>
                  </a:lnTo>
                  <a:lnTo>
                    <a:pt x="8397" y="1145175"/>
                  </a:lnTo>
                  <a:lnTo>
                    <a:pt x="3462" y="1199400"/>
                  </a:lnTo>
                  <a:lnTo>
                    <a:pt x="1616" y="1249884"/>
                  </a:lnTo>
                  <a:lnTo>
                    <a:pt x="533" y="1300403"/>
                  </a:lnTo>
                  <a:lnTo>
                    <a:pt x="49" y="1350949"/>
                  </a:lnTo>
                  <a:lnTo>
                    <a:pt x="0" y="1401514"/>
                  </a:lnTo>
                  <a:lnTo>
                    <a:pt x="221" y="1452092"/>
                  </a:lnTo>
                  <a:lnTo>
                    <a:pt x="549" y="1502674"/>
                  </a:lnTo>
                  <a:lnTo>
                    <a:pt x="820" y="1553252"/>
                  </a:lnTo>
                  <a:lnTo>
                    <a:pt x="858" y="1610017"/>
                  </a:lnTo>
                  <a:lnTo>
                    <a:pt x="3944" y="1616227"/>
                  </a:lnTo>
                  <a:lnTo>
                    <a:pt x="5341" y="1621523"/>
                  </a:lnTo>
                  <a:lnTo>
                    <a:pt x="56688" y="1621523"/>
                  </a:lnTo>
                  <a:lnTo>
                    <a:pt x="56581" y="1553252"/>
                  </a:lnTo>
                  <a:lnTo>
                    <a:pt x="56444" y="1502674"/>
                  </a:lnTo>
                  <a:lnTo>
                    <a:pt x="56436" y="1350949"/>
                  </a:lnTo>
                  <a:lnTo>
                    <a:pt x="56692" y="1310120"/>
                  </a:lnTo>
                  <a:lnTo>
                    <a:pt x="57323" y="1258760"/>
                  </a:lnTo>
                  <a:lnTo>
                    <a:pt x="60615" y="1188058"/>
                  </a:lnTo>
                  <a:lnTo>
                    <a:pt x="71470" y="1118527"/>
                  </a:lnTo>
                  <a:lnTo>
                    <a:pt x="84858" y="1072886"/>
                  </a:lnTo>
                  <a:lnTo>
                    <a:pt x="102467" y="1030417"/>
                  </a:lnTo>
                  <a:lnTo>
                    <a:pt x="124286" y="991081"/>
                  </a:lnTo>
                  <a:lnTo>
                    <a:pt x="150306" y="954839"/>
                  </a:lnTo>
                  <a:lnTo>
                    <a:pt x="180513" y="921655"/>
                  </a:lnTo>
                  <a:lnTo>
                    <a:pt x="214899" y="891488"/>
                  </a:lnTo>
                  <a:lnTo>
                    <a:pt x="253451" y="864300"/>
                  </a:lnTo>
                  <a:lnTo>
                    <a:pt x="296159" y="840054"/>
                  </a:lnTo>
                  <a:lnTo>
                    <a:pt x="356966" y="840054"/>
                  </a:lnTo>
                  <a:lnTo>
                    <a:pt x="355943" y="832964"/>
                  </a:lnTo>
                  <a:lnTo>
                    <a:pt x="358286" y="821967"/>
                  </a:lnTo>
                  <a:lnTo>
                    <a:pt x="365922" y="814407"/>
                  </a:lnTo>
                  <a:lnTo>
                    <a:pt x="379712" y="810234"/>
                  </a:lnTo>
                  <a:lnTo>
                    <a:pt x="475318" y="796289"/>
                  </a:lnTo>
                  <a:lnTo>
                    <a:pt x="697601" y="796289"/>
                  </a:lnTo>
                  <a:lnTo>
                    <a:pt x="673647" y="784351"/>
                  </a:lnTo>
                  <a:lnTo>
                    <a:pt x="621571" y="759561"/>
                  </a:lnTo>
                  <a:lnTo>
                    <a:pt x="648831" y="739600"/>
                  </a:lnTo>
                  <a:lnTo>
                    <a:pt x="653878" y="736104"/>
                  </a:lnTo>
                  <a:lnTo>
                    <a:pt x="473756" y="736104"/>
                  </a:lnTo>
                  <a:lnTo>
                    <a:pt x="426401" y="730824"/>
                  </a:lnTo>
                  <a:lnTo>
                    <a:pt x="381928" y="716710"/>
                  </a:lnTo>
                  <a:lnTo>
                    <a:pt x="341413" y="694796"/>
                  </a:lnTo>
                  <a:lnTo>
                    <a:pt x="305936" y="666114"/>
                  </a:lnTo>
                  <a:lnTo>
                    <a:pt x="279089" y="634644"/>
                  </a:lnTo>
                  <a:lnTo>
                    <a:pt x="201074" y="634644"/>
                  </a:lnTo>
                  <a:lnTo>
                    <a:pt x="164435" y="622398"/>
                  </a:lnTo>
                  <a:lnTo>
                    <a:pt x="128174" y="594229"/>
                  </a:lnTo>
                  <a:lnTo>
                    <a:pt x="100274" y="557131"/>
                  </a:lnTo>
                  <a:lnTo>
                    <a:pt x="88717" y="518096"/>
                  </a:lnTo>
                  <a:lnTo>
                    <a:pt x="88590" y="511505"/>
                  </a:lnTo>
                  <a:lnTo>
                    <a:pt x="92933" y="501599"/>
                  </a:lnTo>
                  <a:lnTo>
                    <a:pt x="98242" y="498601"/>
                  </a:lnTo>
                  <a:lnTo>
                    <a:pt x="125456" y="476128"/>
                  </a:lnTo>
                  <a:lnTo>
                    <a:pt x="140589" y="448552"/>
                  </a:lnTo>
                  <a:lnTo>
                    <a:pt x="147346" y="417207"/>
                  </a:lnTo>
                  <a:lnTo>
                    <a:pt x="149436" y="383425"/>
                  </a:lnTo>
                  <a:lnTo>
                    <a:pt x="153940" y="336348"/>
                  </a:lnTo>
                  <a:lnTo>
                    <a:pt x="164443" y="291302"/>
                  </a:lnTo>
                  <a:lnTo>
                    <a:pt x="180574" y="248774"/>
                  </a:lnTo>
                  <a:lnTo>
                    <a:pt x="201961" y="209253"/>
                  </a:lnTo>
                  <a:lnTo>
                    <a:pt x="228231" y="173227"/>
                  </a:lnTo>
                  <a:lnTo>
                    <a:pt x="259047" y="141156"/>
                  </a:lnTo>
                  <a:lnTo>
                    <a:pt x="293935" y="113609"/>
                  </a:lnTo>
                  <a:lnTo>
                    <a:pt x="332624" y="90994"/>
                  </a:lnTo>
                  <a:lnTo>
                    <a:pt x="374708" y="73825"/>
                  </a:lnTo>
                  <a:lnTo>
                    <a:pt x="419097" y="62542"/>
                  </a:lnTo>
                  <a:lnTo>
                    <a:pt x="463232" y="57511"/>
                  </a:lnTo>
                  <a:lnTo>
                    <a:pt x="679776" y="57511"/>
                  </a:lnTo>
                  <a:lnTo>
                    <a:pt x="660372" y="45525"/>
                  </a:lnTo>
                  <a:lnTo>
                    <a:pt x="619266" y="26435"/>
                  </a:lnTo>
                  <a:lnTo>
                    <a:pt x="575698" y="12258"/>
                  </a:lnTo>
                  <a:lnTo>
                    <a:pt x="530007" y="3333"/>
                  </a:lnTo>
                  <a:lnTo>
                    <a:pt x="482531" y="0"/>
                  </a:lnTo>
                  <a:close/>
                </a:path>
                <a:path w="927100" h="1621789">
                  <a:moveTo>
                    <a:pt x="356966" y="840054"/>
                  </a:moveTo>
                  <a:lnTo>
                    <a:pt x="296159" y="840054"/>
                  </a:lnTo>
                  <a:lnTo>
                    <a:pt x="314424" y="893322"/>
                  </a:lnTo>
                  <a:lnTo>
                    <a:pt x="340977" y="936678"/>
                  </a:lnTo>
                  <a:lnTo>
                    <a:pt x="376175" y="969117"/>
                  </a:lnTo>
                  <a:lnTo>
                    <a:pt x="420379" y="989631"/>
                  </a:lnTo>
                  <a:lnTo>
                    <a:pt x="473946" y="997216"/>
                  </a:lnTo>
                  <a:lnTo>
                    <a:pt x="520870" y="992716"/>
                  </a:lnTo>
                  <a:lnTo>
                    <a:pt x="560867" y="978359"/>
                  </a:lnTo>
                  <a:lnTo>
                    <a:pt x="594331" y="954839"/>
                  </a:lnTo>
                  <a:lnTo>
                    <a:pt x="606463" y="940638"/>
                  </a:lnTo>
                  <a:lnTo>
                    <a:pt x="475254" y="940638"/>
                  </a:lnTo>
                  <a:lnTo>
                    <a:pt x="435014" y="933418"/>
                  </a:lnTo>
                  <a:lnTo>
                    <a:pt x="400489" y="914020"/>
                  </a:lnTo>
                  <a:lnTo>
                    <a:pt x="374041" y="884632"/>
                  </a:lnTo>
                  <a:lnTo>
                    <a:pt x="358033" y="847445"/>
                  </a:lnTo>
                  <a:lnTo>
                    <a:pt x="356966" y="840054"/>
                  </a:lnTo>
                  <a:close/>
                </a:path>
                <a:path w="927100" h="1621789">
                  <a:moveTo>
                    <a:pt x="697601" y="796289"/>
                  </a:moveTo>
                  <a:lnTo>
                    <a:pt x="475318" y="796289"/>
                  </a:lnTo>
                  <a:lnTo>
                    <a:pt x="571736" y="809675"/>
                  </a:lnTo>
                  <a:lnTo>
                    <a:pt x="586979" y="814306"/>
                  </a:lnTo>
                  <a:lnTo>
                    <a:pt x="595080" y="822839"/>
                  </a:lnTo>
                  <a:lnTo>
                    <a:pt x="597287" y="834868"/>
                  </a:lnTo>
                  <a:lnTo>
                    <a:pt x="594850" y="849985"/>
                  </a:lnTo>
                  <a:lnTo>
                    <a:pt x="578149" y="886529"/>
                  </a:lnTo>
                  <a:lnTo>
                    <a:pt x="550768" y="915338"/>
                  </a:lnTo>
                  <a:lnTo>
                    <a:pt x="515529" y="934133"/>
                  </a:lnTo>
                  <a:lnTo>
                    <a:pt x="475254" y="940638"/>
                  </a:lnTo>
                  <a:lnTo>
                    <a:pt x="606463" y="940638"/>
                  </a:lnTo>
                  <a:lnTo>
                    <a:pt x="621535" y="922996"/>
                  </a:lnTo>
                  <a:lnTo>
                    <a:pt x="642933" y="883454"/>
                  </a:lnTo>
                  <a:lnTo>
                    <a:pt x="658858" y="836980"/>
                  </a:lnTo>
                  <a:lnTo>
                    <a:pt x="760825" y="836980"/>
                  </a:lnTo>
                  <a:lnTo>
                    <a:pt x="744173" y="824720"/>
                  </a:lnTo>
                  <a:lnTo>
                    <a:pt x="721533" y="809751"/>
                  </a:lnTo>
                  <a:lnTo>
                    <a:pt x="698134" y="796555"/>
                  </a:lnTo>
                  <a:lnTo>
                    <a:pt x="697601" y="796289"/>
                  </a:lnTo>
                  <a:close/>
                </a:path>
                <a:path w="927100" h="1621789">
                  <a:moveTo>
                    <a:pt x="760825" y="836980"/>
                  </a:moveTo>
                  <a:lnTo>
                    <a:pt x="658858" y="836980"/>
                  </a:lnTo>
                  <a:lnTo>
                    <a:pt x="771774" y="915390"/>
                  </a:lnTo>
                  <a:lnTo>
                    <a:pt x="817087" y="879716"/>
                  </a:lnTo>
                  <a:lnTo>
                    <a:pt x="790782" y="859790"/>
                  </a:lnTo>
                  <a:lnTo>
                    <a:pt x="766867" y="841428"/>
                  </a:lnTo>
                  <a:lnTo>
                    <a:pt x="760825" y="836980"/>
                  </a:lnTo>
                  <a:close/>
                </a:path>
                <a:path w="927100" h="1621789">
                  <a:moveTo>
                    <a:pt x="550827" y="323964"/>
                  </a:moveTo>
                  <a:lnTo>
                    <a:pt x="471939" y="323964"/>
                  </a:lnTo>
                  <a:lnTo>
                    <a:pt x="499216" y="352405"/>
                  </a:lnTo>
                  <a:lnTo>
                    <a:pt x="525757" y="380657"/>
                  </a:lnTo>
                  <a:lnTo>
                    <a:pt x="581756" y="431101"/>
                  </a:lnTo>
                  <a:lnTo>
                    <a:pt x="634695" y="457749"/>
                  </a:lnTo>
                  <a:lnTo>
                    <a:pt x="692577" y="476376"/>
                  </a:lnTo>
                  <a:lnTo>
                    <a:pt x="704648" y="481340"/>
                  </a:lnTo>
                  <a:lnTo>
                    <a:pt x="712463" y="487837"/>
                  </a:lnTo>
                  <a:lnTo>
                    <a:pt x="716571" y="496931"/>
                  </a:lnTo>
                  <a:lnTo>
                    <a:pt x="717519" y="509689"/>
                  </a:lnTo>
                  <a:lnTo>
                    <a:pt x="711278" y="555168"/>
                  </a:lnTo>
                  <a:lnTo>
                    <a:pt x="696037" y="597708"/>
                  </a:lnTo>
                  <a:lnTo>
                    <a:pt x="672835" y="636326"/>
                  </a:lnTo>
                  <a:lnTo>
                    <a:pt x="642710" y="670036"/>
                  </a:lnTo>
                  <a:lnTo>
                    <a:pt x="606701" y="697853"/>
                  </a:lnTo>
                  <a:lnTo>
                    <a:pt x="565847" y="718793"/>
                  </a:lnTo>
                  <a:lnTo>
                    <a:pt x="521185" y="731872"/>
                  </a:lnTo>
                  <a:lnTo>
                    <a:pt x="473756" y="736104"/>
                  </a:lnTo>
                  <a:lnTo>
                    <a:pt x="653878" y="736104"/>
                  </a:lnTo>
                  <a:lnTo>
                    <a:pt x="675354" y="721229"/>
                  </a:lnTo>
                  <a:lnTo>
                    <a:pt x="704151" y="707112"/>
                  </a:lnTo>
                  <a:lnTo>
                    <a:pt x="738233" y="699909"/>
                  </a:lnTo>
                  <a:lnTo>
                    <a:pt x="780958" y="691513"/>
                  </a:lnTo>
                  <a:lnTo>
                    <a:pt x="819983" y="673984"/>
                  </a:lnTo>
                  <a:lnTo>
                    <a:pt x="854369" y="648735"/>
                  </a:lnTo>
                  <a:lnTo>
                    <a:pt x="865623" y="636409"/>
                  </a:lnTo>
                  <a:lnTo>
                    <a:pt x="751517" y="636409"/>
                  </a:lnTo>
                  <a:lnTo>
                    <a:pt x="781654" y="429602"/>
                  </a:lnTo>
                  <a:lnTo>
                    <a:pt x="729331" y="425051"/>
                  </a:lnTo>
                  <a:lnTo>
                    <a:pt x="682346" y="415118"/>
                  </a:lnTo>
                  <a:lnTo>
                    <a:pt x="640691" y="399723"/>
                  </a:lnTo>
                  <a:lnTo>
                    <a:pt x="604360" y="378785"/>
                  </a:lnTo>
                  <a:lnTo>
                    <a:pt x="573343" y="352223"/>
                  </a:lnTo>
                  <a:lnTo>
                    <a:pt x="550827" y="323964"/>
                  </a:lnTo>
                  <a:close/>
                </a:path>
                <a:path w="927100" h="1621789">
                  <a:moveTo>
                    <a:pt x="679776" y="57511"/>
                  </a:moveTo>
                  <a:lnTo>
                    <a:pt x="463232" y="57511"/>
                  </a:lnTo>
                  <a:lnTo>
                    <a:pt x="506656" y="58422"/>
                  </a:lnTo>
                  <a:lnTo>
                    <a:pt x="548910" y="64960"/>
                  </a:lnTo>
                  <a:lnTo>
                    <a:pt x="589536" y="76815"/>
                  </a:lnTo>
                  <a:lnTo>
                    <a:pt x="628074" y="93674"/>
                  </a:lnTo>
                  <a:lnTo>
                    <a:pt x="664067" y="115225"/>
                  </a:lnTo>
                  <a:lnTo>
                    <a:pt x="697081" y="141183"/>
                  </a:lnTo>
                  <a:lnTo>
                    <a:pt x="726580" y="171154"/>
                  </a:lnTo>
                  <a:lnTo>
                    <a:pt x="752185" y="204907"/>
                  </a:lnTo>
                  <a:lnTo>
                    <a:pt x="773409" y="242104"/>
                  </a:lnTo>
                  <a:lnTo>
                    <a:pt x="789795" y="282432"/>
                  </a:lnTo>
                  <a:lnTo>
                    <a:pt x="800883" y="325579"/>
                  </a:lnTo>
                  <a:lnTo>
                    <a:pt x="806216" y="371233"/>
                  </a:lnTo>
                  <a:lnTo>
                    <a:pt x="808289" y="408923"/>
                  </a:lnTo>
                  <a:lnTo>
                    <a:pt x="814457" y="444393"/>
                  </a:lnTo>
                  <a:lnTo>
                    <a:pt x="830271" y="475655"/>
                  </a:lnTo>
                  <a:lnTo>
                    <a:pt x="861283" y="500722"/>
                  </a:lnTo>
                  <a:lnTo>
                    <a:pt x="865538" y="502958"/>
                  </a:lnTo>
                  <a:lnTo>
                    <a:pt x="868297" y="511505"/>
                  </a:lnTo>
                  <a:lnTo>
                    <a:pt x="856618" y="556737"/>
                  </a:lnTo>
                  <a:lnTo>
                    <a:pt x="827766" y="594380"/>
                  </a:lnTo>
                  <a:lnTo>
                    <a:pt x="789997" y="623339"/>
                  </a:lnTo>
                  <a:lnTo>
                    <a:pt x="751517" y="636409"/>
                  </a:lnTo>
                  <a:lnTo>
                    <a:pt x="865623" y="636409"/>
                  </a:lnTo>
                  <a:lnTo>
                    <a:pt x="883178" y="617181"/>
                  </a:lnTo>
                  <a:lnTo>
                    <a:pt x="905472" y="580736"/>
                  </a:lnTo>
                  <a:lnTo>
                    <a:pt x="920313" y="540814"/>
                  </a:lnTo>
                  <a:lnTo>
                    <a:pt x="926762" y="498830"/>
                  </a:lnTo>
                  <a:lnTo>
                    <a:pt x="923882" y="456196"/>
                  </a:lnTo>
                  <a:lnTo>
                    <a:pt x="890558" y="448586"/>
                  </a:lnTo>
                  <a:lnTo>
                    <a:pt x="872824" y="437918"/>
                  </a:lnTo>
                  <a:lnTo>
                    <a:pt x="865592" y="417949"/>
                  </a:lnTo>
                  <a:lnTo>
                    <a:pt x="863773" y="382435"/>
                  </a:lnTo>
                  <a:lnTo>
                    <a:pt x="860037" y="334395"/>
                  </a:lnTo>
                  <a:lnTo>
                    <a:pt x="850796" y="288216"/>
                  </a:lnTo>
                  <a:lnTo>
                    <a:pt x="836388" y="244235"/>
                  </a:lnTo>
                  <a:lnTo>
                    <a:pt x="817151" y="202793"/>
                  </a:lnTo>
                  <a:lnTo>
                    <a:pt x="793423" y="164227"/>
                  </a:lnTo>
                  <a:lnTo>
                    <a:pt x="765543" y="128879"/>
                  </a:lnTo>
                  <a:lnTo>
                    <a:pt x="733849" y="97086"/>
                  </a:lnTo>
                  <a:lnTo>
                    <a:pt x="698680" y="69188"/>
                  </a:lnTo>
                  <a:lnTo>
                    <a:pt x="679776" y="57511"/>
                  </a:lnTo>
                  <a:close/>
                </a:path>
                <a:path w="927100" h="1621789">
                  <a:moveTo>
                    <a:pt x="502267" y="188112"/>
                  </a:moveTo>
                  <a:lnTo>
                    <a:pt x="450197" y="188112"/>
                  </a:lnTo>
                  <a:lnTo>
                    <a:pt x="440676" y="237831"/>
                  </a:lnTo>
                  <a:lnTo>
                    <a:pt x="425810" y="281658"/>
                  </a:lnTo>
                  <a:lnTo>
                    <a:pt x="405578" y="319664"/>
                  </a:lnTo>
                  <a:lnTo>
                    <a:pt x="379963" y="351921"/>
                  </a:lnTo>
                  <a:lnTo>
                    <a:pt x="348946" y="378498"/>
                  </a:lnTo>
                  <a:lnTo>
                    <a:pt x="312507" y="399468"/>
                  </a:lnTo>
                  <a:lnTo>
                    <a:pt x="270629" y="414901"/>
                  </a:lnTo>
                  <a:lnTo>
                    <a:pt x="223293" y="424867"/>
                  </a:lnTo>
                  <a:lnTo>
                    <a:pt x="170480" y="429437"/>
                  </a:lnTo>
                  <a:lnTo>
                    <a:pt x="201074" y="634644"/>
                  </a:lnTo>
                  <a:lnTo>
                    <a:pt x="279089" y="634644"/>
                  </a:lnTo>
                  <a:lnTo>
                    <a:pt x="276576" y="631699"/>
                  </a:lnTo>
                  <a:lnTo>
                    <a:pt x="254412" y="592583"/>
                  </a:lnTo>
                  <a:lnTo>
                    <a:pt x="240522" y="549799"/>
                  </a:lnTo>
                  <a:lnTo>
                    <a:pt x="235986" y="504380"/>
                  </a:lnTo>
                  <a:lnTo>
                    <a:pt x="237310" y="497167"/>
                  </a:lnTo>
                  <a:lnTo>
                    <a:pt x="240572" y="489462"/>
                  </a:lnTo>
                  <a:lnTo>
                    <a:pt x="244914" y="483165"/>
                  </a:lnTo>
                  <a:lnTo>
                    <a:pt x="249474" y="480174"/>
                  </a:lnTo>
                  <a:lnTo>
                    <a:pt x="297770" y="468713"/>
                  </a:lnTo>
                  <a:lnTo>
                    <a:pt x="341420" y="450924"/>
                  </a:lnTo>
                  <a:lnTo>
                    <a:pt x="380542" y="427181"/>
                  </a:lnTo>
                  <a:lnTo>
                    <a:pt x="415257" y="397858"/>
                  </a:lnTo>
                  <a:lnTo>
                    <a:pt x="445682" y="363328"/>
                  </a:lnTo>
                  <a:lnTo>
                    <a:pt x="471939" y="323964"/>
                  </a:lnTo>
                  <a:lnTo>
                    <a:pt x="550827" y="323964"/>
                  </a:lnTo>
                  <a:lnTo>
                    <a:pt x="547633" y="319955"/>
                  </a:lnTo>
                  <a:lnTo>
                    <a:pt x="527222" y="281902"/>
                  </a:lnTo>
                  <a:lnTo>
                    <a:pt x="512103" y="237981"/>
                  </a:lnTo>
                  <a:lnTo>
                    <a:pt x="502267" y="188112"/>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object 12">
              <a:extLst>
                <a:ext uri="{FF2B5EF4-FFF2-40B4-BE49-F238E27FC236}">
                  <a16:creationId xmlns:a16="http://schemas.microsoft.com/office/drawing/2014/main" id="{2025682A-2129-47D0-BCA6-E2E642AD0699}"/>
                </a:ext>
              </a:extLst>
            </p:cNvPr>
            <p:cNvSpPr/>
            <p:nvPr/>
          </p:nvSpPr>
          <p:spPr>
            <a:xfrm>
              <a:off x="2590272" y="2775848"/>
              <a:ext cx="695325" cy="1183640"/>
            </a:xfrm>
            <a:custGeom>
              <a:avLst/>
              <a:gdLst/>
              <a:ahLst/>
              <a:cxnLst/>
              <a:rect l="l" t="t" r="r" b="b"/>
              <a:pathLst>
                <a:path w="695325" h="1183639">
                  <a:moveTo>
                    <a:pt x="678178" y="689073"/>
                  </a:moveTo>
                  <a:lnTo>
                    <a:pt x="187617" y="689073"/>
                  </a:lnTo>
                  <a:lnTo>
                    <a:pt x="511098" y="689911"/>
                  </a:lnTo>
                  <a:lnTo>
                    <a:pt x="517769" y="690419"/>
                  </a:lnTo>
                  <a:lnTo>
                    <a:pt x="524867" y="691692"/>
                  </a:lnTo>
                  <a:lnTo>
                    <a:pt x="532824" y="693408"/>
                  </a:lnTo>
                  <a:lnTo>
                    <a:pt x="542074" y="695245"/>
                  </a:lnTo>
                  <a:lnTo>
                    <a:pt x="542074" y="1183471"/>
                  </a:lnTo>
                  <a:lnTo>
                    <a:pt x="597090" y="1183471"/>
                  </a:lnTo>
                  <a:lnTo>
                    <a:pt x="597090" y="768892"/>
                  </a:lnTo>
                  <a:lnTo>
                    <a:pt x="598251" y="724903"/>
                  </a:lnTo>
                  <a:lnTo>
                    <a:pt x="606377" y="701979"/>
                  </a:lnTo>
                  <a:lnTo>
                    <a:pt x="628433" y="692661"/>
                  </a:lnTo>
                  <a:lnTo>
                    <a:pt x="671385" y="689492"/>
                  </a:lnTo>
                  <a:lnTo>
                    <a:pt x="677646" y="689200"/>
                  </a:lnTo>
                  <a:lnTo>
                    <a:pt x="678178" y="689073"/>
                  </a:lnTo>
                  <a:close/>
                </a:path>
                <a:path w="695325" h="1183639">
                  <a:moveTo>
                    <a:pt x="186770" y="689160"/>
                  </a:moveTo>
                  <a:lnTo>
                    <a:pt x="71147" y="689160"/>
                  </a:lnTo>
                  <a:lnTo>
                    <a:pt x="86226" y="697377"/>
                  </a:lnTo>
                  <a:lnTo>
                    <a:pt x="93752" y="713887"/>
                  </a:lnTo>
                  <a:lnTo>
                    <a:pt x="95529" y="738590"/>
                  </a:lnTo>
                  <a:lnTo>
                    <a:pt x="94827" y="788618"/>
                  </a:lnTo>
                  <a:lnTo>
                    <a:pt x="94415" y="838651"/>
                  </a:lnTo>
                  <a:lnTo>
                    <a:pt x="94312" y="988769"/>
                  </a:lnTo>
                  <a:lnTo>
                    <a:pt x="94583" y="1088853"/>
                  </a:lnTo>
                  <a:lnTo>
                    <a:pt x="94640" y="1182772"/>
                  </a:lnTo>
                  <a:lnTo>
                    <a:pt x="151879" y="1182772"/>
                  </a:lnTo>
                  <a:lnTo>
                    <a:pt x="151922" y="828808"/>
                  </a:lnTo>
                  <a:lnTo>
                    <a:pt x="151762" y="788618"/>
                  </a:lnTo>
                  <a:lnTo>
                    <a:pt x="151660" y="768892"/>
                  </a:lnTo>
                  <a:lnTo>
                    <a:pt x="151384" y="726715"/>
                  </a:lnTo>
                  <a:lnTo>
                    <a:pt x="152864" y="709213"/>
                  </a:lnTo>
                  <a:lnTo>
                    <a:pt x="158513" y="697469"/>
                  </a:lnTo>
                  <a:lnTo>
                    <a:pt x="169655" y="690938"/>
                  </a:lnTo>
                  <a:lnTo>
                    <a:pt x="186770" y="689160"/>
                  </a:lnTo>
                  <a:close/>
                </a:path>
                <a:path w="695325" h="1183639">
                  <a:moveTo>
                    <a:pt x="115918" y="0"/>
                  </a:moveTo>
                  <a:lnTo>
                    <a:pt x="100441" y="3060"/>
                  </a:lnTo>
                  <a:lnTo>
                    <a:pt x="94826" y="16526"/>
                  </a:lnTo>
                  <a:lnTo>
                    <a:pt x="95034" y="44116"/>
                  </a:lnTo>
                  <a:lnTo>
                    <a:pt x="96792" y="93655"/>
                  </a:lnTo>
                  <a:lnTo>
                    <a:pt x="97127" y="143007"/>
                  </a:lnTo>
                  <a:lnTo>
                    <a:pt x="95954" y="192166"/>
                  </a:lnTo>
                  <a:lnTo>
                    <a:pt x="93188" y="241131"/>
                  </a:lnTo>
                  <a:lnTo>
                    <a:pt x="88744" y="289897"/>
                  </a:lnTo>
                  <a:lnTo>
                    <a:pt x="82537" y="338462"/>
                  </a:lnTo>
                  <a:lnTo>
                    <a:pt x="74484" y="386822"/>
                  </a:lnTo>
                  <a:lnTo>
                    <a:pt x="64498" y="434974"/>
                  </a:lnTo>
                  <a:lnTo>
                    <a:pt x="52495" y="482914"/>
                  </a:lnTo>
                  <a:lnTo>
                    <a:pt x="38392" y="530640"/>
                  </a:lnTo>
                  <a:lnTo>
                    <a:pt x="27490" y="568865"/>
                  </a:lnTo>
                  <a:lnTo>
                    <a:pt x="18162" y="608037"/>
                  </a:lnTo>
                  <a:lnTo>
                    <a:pt x="9350" y="648262"/>
                  </a:lnTo>
                  <a:lnTo>
                    <a:pt x="0" y="689644"/>
                  </a:lnTo>
                  <a:lnTo>
                    <a:pt x="14002" y="689866"/>
                  </a:lnTo>
                  <a:lnTo>
                    <a:pt x="26069" y="690211"/>
                  </a:lnTo>
                  <a:lnTo>
                    <a:pt x="36779" y="690196"/>
                  </a:lnTo>
                  <a:lnTo>
                    <a:pt x="46710" y="689339"/>
                  </a:lnTo>
                  <a:lnTo>
                    <a:pt x="186770" y="689160"/>
                  </a:lnTo>
                  <a:lnTo>
                    <a:pt x="187617" y="689073"/>
                  </a:lnTo>
                  <a:lnTo>
                    <a:pt x="678178" y="689073"/>
                  </a:lnTo>
                  <a:lnTo>
                    <a:pt x="683869" y="687714"/>
                  </a:lnTo>
                  <a:lnTo>
                    <a:pt x="695236" y="686012"/>
                  </a:lnTo>
                  <a:lnTo>
                    <a:pt x="680058" y="629446"/>
                  </a:lnTo>
                  <a:lnTo>
                    <a:pt x="69697" y="629446"/>
                  </a:lnTo>
                  <a:lnTo>
                    <a:pt x="83880" y="581949"/>
                  </a:lnTo>
                  <a:lnTo>
                    <a:pt x="97191" y="534465"/>
                  </a:lnTo>
                  <a:lnTo>
                    <a:pt x="109487" y="486960"/>
                  </a:lnTo>
                  <a:lnTo>
                    <a:pt x="120625" y="439402"/>
                  </a:lnTo>
                  <a:lnTo>
                    <a:pt x="130464" y="391758"/>
                  </a:lnTo>
                  <a:lnTo>
                    <a:pt x="138861" y="343997"/>
                  </a:lnTo>
                  <a:lnTo>
                    <a:pt x="145674" y="296084"/>
                  </a:lnTo>
                  <a:lnTo>
                    <a:pt x="150759" y="247989"/>
                  </a:lnTo>
                  <a:lnTo>
                    <a:pt x="153976" y="199678"/>
                  </a:lnTo>
                  <a:lnTo>
                    <a:pt x="155132" y="153075"/>
                  </a:lnTo>
                  <a:lnTo>
                    <a:pt x="155161" y="150097"/>
                  </a:lnTo>
                  <a:lnTo>
                    <a:pt x="154231" y="102280"/>
                  </a:lnTo>
                  <a:lnTo>
                    <a:pt x="150985" y="53127"/>
                  </a:lnTo>
                  <a:lnTo>
                    <a:pt x="145300" y="3628"/>
                  </a:lnTo>
                  <a:lnTo>
                    <a:pt x="115918" y="0"/>
                  </a:lnTo>
                  <a:close/>
                </a:path>
                <a:path w="695325" h="1183639">
                  <a:moveTo>
                    <a:pt x="566349" y="759"/>
                  </a:moveTo>
                  <a:lnTo>
                    <a:pt x="540213" y="44116"/>
                  </a:lnTo>
                  <a:lnTo>
                    <a:pt x="540026" y="71252"/>
                  </a:lnTo>
                  <a:lnTo>
                    <a:pt x="539859" y="93655"/>
                  </a:lnTo>
                  <a:lnTo>
                    <a:pt x="539862" y="123826"/>
                  </a:lnTo>
                  <a:lnTo>
                    <a:pt x="540440" y="153075"/>
                  </a:lnTo>
                  <a:lnTo>
                    <a:pt x="541251" y="196530"/>
                  </a:lnTo>
                  <a:lnTo>
                    <a:pt x="541986" y="243033"/>
                  </a:lnTo>
                  <a:lnTo>
                    <a:pt x="544305" y="289282"/>
                  </a:lnTo>
                  <a:lnTo>
                    <a:pt x="549922" y="334958"/>
                  </a:lnTo>
                  <a:lnTo>
                    <a:pt x="559730" y="384801"/>
                  </a:lnTo>
                  <a:lnTo>
                    <a:pt x="571339" y="434332"/>
                  </a:lnTo>
                  <a:lnTo>
                    <a:pt x="584015" y="483678"/>
                  </a:lnTo>
                  <a:lnTo>
                    <a:pt x="597025" y="532968"/>
                  </a:lnTo>
                  <a:lnTo>
                    <a:pt x="609638" y="582329"/>
                  </a:lnTo>
                  <a:lnTo>
                    <a:pt x="612240" y="593552"/>
                  </a:lnTo>
                  <a:lnTo>
                    <a:pt x="614670" y="605030"/>
                  </a:lnTo>
                  <a:lnTo>
                    <a:pt x="617096" y="616937"/>
                  </a:lnTo>
                  <a:lnTo>
                    <a:pt x="619683" y="629446"/>
                  </a:lnTo>
                  <a:lnTo>
                    <a:pt x="680058" y="629446"/>
                  </a:lnTo>
                  <a:lnTo>
                    <a:pt x="669323" y="589436"/>
                  </a:lnTo>
                  <a:lnTo>
                    <a:pt x="656628" y="541230"/>
                  </a:lnTo>
                  <a:lnTo>
                    <a:pt x="644426" y="493033"/>
                  </a:lnTo>
                  <a:lnTo>
                    <a:pt x="632954" y="444812"/>
                  </a:lnTo>
                  <a:lnTo>
                    <a:pt x="622453" y="396532"/>
                  </a:lnTo>
                  <a:lnTo>
                    <a:pt x="613160" y="348160"/>
                  </a:lnTo>
                  <a:lnTo>
                    <a:pt x="605315" y="299662"/>
                  </a:lnTo>
                  <a:lnTo>
                    <a:pt x="599157" y="251005"/>
                  </a:lnTo>
                  <a:lnTo>
                    <a:pt x="594923" y="202153"/>
                  </a:lnTo>
                  <a:lnTo>
                    <a:pt x="592854" y="153075"/>
                  </a:lnTo>
                  <a:lnTo>
                    <a:pt x="593187" y="103735"/>
                  </a:lnTo>
                  <a:lnTo>
                    <a:pt x="596162" y="54100"/>
                  </a:lnTo>
                  <a:lnTo>
                    <a:pt x="602018" y="4136"/>
                  </a:lnTo>
                  <a:lnTo>
                    <a:pt x="566349" y="759"/>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object 13">
              <a:extLst>
                <a:ext uri="{FF2B5EF4-FFF2-40B4-BE49-F238E27FC236}">
                  <a16:creationId xmlns:a16="http://schemas.microsoft.com/office/drawing/2014/main" id="{73A43867-217E-4FDB-B2E4-6FAEFA9DBDB3}"/>
                </a:ext>
              </a:extLst>
            </p:cNvPr>
            <p:cNvSpPr/>
            <p:nvPr/>
          </p:nvSpPr>
          <p:spPr>
            <a:xfrm>
              <a:off x="2855211" y="2246245"/>
              <a:ext cx="166370" cy="82550"/>
            </a:xfrm>
            <a:custGeom>
              <a:avLst/>
              <a:gdLst/>
              <a:ahLst/>
              <a:cxnLst/>
              <a:rect l="l" t="t" r="r" b="b"/>
              <a:pathLst>
                <a:path w="166369" h="82550">
                  <a:moveTo>
                    <a:pt x="165989" y="0"/>
                  </a:moveTo>
                  <a:lnTo>
                    <a:pt x="0" y="0"/>
                  </a:lnTo>
                  <a:lnTo>
                    <a:pt x="7244" y="33536"/>
                  </a:lnTo>
                  <a:lnTo>
                    <a:pt x="23307" y="58897"/>
                  </a:lnTo>
                  <a:lnTo>
                    <a:pt x="47195" y="75307"/>
                  </a:lnTo>
                  <a:lnTo>
                    <a:pt x="77914" y="81991"/>
                  </a:lnTo>
                  <a:lnTo>
                    <a:pt x="110267" y="77815"/>
                  </a:lnTo>
                  <a:lnTo>
                    <a:pt x="136305" y="62403"/>
                  </a:lnTo>
                  <a:lnTo>
                    <a:pt x="155167" y="36287"/>
                  </a:lnTo>
                  <a:lnTo>
                    <a:pt x="165989" y="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6" name="Group 75" descr="Icon of a person with an arm injury" title="Arm Injury">
            <a:extLst>
              <a:ext uri="{FF2B5EF4-FFF2-40B4-BE49-F238E27FC236}">
                <a16:creationId xmlns:a16="http://schemas.microsoft.com/office/drawing/2014/main" id="{D562609E-3F05-4961-A202-07657067364C}"/>
              </a:ext>
            </a:extLst>
          </p:cNvPr>
          <p:cNvGrpSpPr>
            <a:grpSpLocks noChangeAspect="1"/>
          </p:cNvGrpSpPr>
          <p:nvPr userDrawn="1"/>
        </p:nvGrpSpPr>
        <p:grpSpPr>
          <a:xfrm>
            <a:off x="5055033" y="5684804"/>
            <a:ext cx="397532" cy="914400"/>
            <a:chOff x="5742070" y="1770398"/>
            <a:chExt cx="952500" cy="2190931"/>
          </a:xfrm>
          <a:solidFill>
            <a:schemeClr val="bg1"/>
          </a:solidFill>
        </p:grpSpPr>
        <p:sp>
          <p:nvSpPr>
            <p:cNvPr id="77" name="object 8">
              <a:extLst>
                <a:ext uri="{FF2B5EF4-FFF2-40B4-BE49-F238E27FC236}">
                  <a16:creationId xmlns:a16="http://schemas.microsoft.com/office/drawing/2014/main" id="{97F2F83C-4826-426F-ADEB-45148868DBB8}"/>
                </a:ext>
              </a:extLst>
            </p:cNvPr>
            <p:cNvSpPr/>
            <p:nvPr/>
          </p:nvSpPr>
          <p:spPr>
            <a:xfrm>
              <a:off x="5742070" y="1770398"/>
              <a:ext cx="952500" cy="1536700"/>
            </a:xfrm>
            <a:custGeom>
              <a:avLst/>
              <a:gdLst/>
              <a:ahLst/>
              <a:cxnLst/>
              <a:rect l="l" t="t" r="r" b="b"/>
              <a:pathLst>
                <a:path w="952500" h="1536700">
                  <a:moveTo>
                    <a:pt x="771151" y="762000"/>
                  </a:moveTo>
                  <a:lnTo>
                    <a:pt x="661758" y="762000"/>
                  </a:lnTo>
                  <a:lnTo>
                    <a:pt x="707712" y="787400"/>
                  </a:lnTo>
                  <a:lnTo>
                    <a:pt x="749367" y="812800"/>
                  </a:lnTo>
                  <a:lnTo>
                    <a:pt x="786346" y="850900"/>
                  </a:lnTo>
                  <a:lnTo>
                    <a:pt x="818273" y="889000"/>
                  </a:lnTo>
                  <a:lnTo>
                    <a:pt x="844771" y="927100"/>
                  </a:lnTo>
                  <a:lnTo>
                    <a:pt x="865462" y="977900"/>
                  </a:lnTo>
                  <a:lnTo>
                    <a:pt x="879971" y="1028700"/>
                  </a:lnTo>
                  <a:lnTo>
                    <a:pt x="887920" y="1079500"/>
                  </a:lnTo>
                  <a:lnTo>
                    <a:pt x="891467" y="1130300"/>
                  </a:lnTo>
                  <a:lnTo>
                    <a:pt x="893709" y="1181100"/>
                  </a:lnTo>
                  <a:lnTo>
                    <a:pt x="894930" y="1231900"/>
                  </a:lnTo>
                  <a:lnTo>
                    <a:pt x="895416" y="1282700"/>
                  </a:lnTo>
                  <a:lnTo>
                    <a:pt x="895325" y="1447800"/>
                  </a:lnTo>
                  <a:lnTo>
                    <a:pt x="895730" y="1498600"/>
                  </a:lnTo>
                  <a:lnTo>
                    <a:pt x="895756" y="1536700"/>
                  </a:lnTo>
                  <a:lnTo>
                    <a:pt x="951966" y="1536700"/>
                  </a:lnTo>
                  <a:lnTo>
                    <a:pt x="952062" y="1435100"/>
                  </a:lnTo>
                  <a:lnTo>
                    <a:pt x="952183" y="1257300"/>
                  </a:lnTo>
                  <a:lnTo>
                    <a:pt x="952056" y="1193800"/>
                  </a:lnTo>
                  <a:lnTo>
                    <a:pt x="951801" y="1143000"/>
                  </a:lnTo>
                  <a:lnTo>
                    <a:pt x="949516" y="1092200"/>
                  </a:lnTo>
                  <a:lnTo>
                    <a:pt x="943329" y="1054100"/>
                  </a:lnTo>
                  <a:lnTo>
                    <a:pt x="933230" y="1003300"/>
                  </a:lnTo>
                  <a:lnTo>
                    <a:pt x="919210" y="965200"/>
                  </a:lnTo>
                  <a:lnTo>
                    <a:pt x="901262" y="927100"/>
                  </a:lnTo>
                  <a:lnTo>
                    <a:pt x="879377" y="876300"/>
                  </a:lnTo>
                  <a:lnTo>
                    <a:pt x="853546" y="850900"/>
                  </a:lnTo>
                  <a:lnTo>
                    <a:pt x="823760" y="812800"/>
                  </a:lnTo>
                  <a:lnTo>
                    <a:pt x="790011" y="774700"/>
                  </a:lnTo>
                  <a:lnTo>
                    <a:pt x="771151" y="762000"/>
                  </a:lnTo>
                  <a:close/>
                </a:path>
                <a:path w="952500" h="1536700">
                  <a:moveTo>
                    <a:pt x="649686" y="685800"/>
                  </a:moveTo>
                  <a:lnTo>
                    <a:pt x="310154" y="685800"/>
                  </a:lnTo>
                  <a:lnTo>
                    <a:pt x="300238" y="698500"/>
                  </a:lnTo>
                  <a:lnTo>
                    <a:pt x="291045" y="698500"/>
                  </a:lnTo>
                  <a:lnTo>
                    <a:pt x="245035" y="723900"/>
                  </a:lnTo>
                  <a:lnTo>
                    <a:pt x="202912" y="749300"/>
                  </a:lnTo>
                  <a:lnTo>
                    <a:pt x="164683" y="774700"/>
                  </a:lnTo>
                  <a:lnTo>
                    <a:pt x="130356" y="812800"/>
                  </a:lnTo>
                  <a:lnTo>
                    <a:pt x="99940" y="838200"/>
                  </a:lnTo>
                  <a:lnTo>
                    <a:pt x="73442" y="876300"/>
                  </a:lnTo>
                  <a:lnTo>
                    <a:pt x="50870" y="927100"/>
                  </a:lnTo>
                  <a:lnTo>
                    <a:pt x="32231" y="965200"/>
                  </a:lnTo>
                  <a:lnTo>
                    <a:pt x="17535" y="1016000"/>
                  </a:lnTo>
                  <a:lnTo>
                    <a:pt x="6788" y="1066800"/>
                  </a:lnTo>
                  <a:lnTo>
                    <a:pt x="0" y="1117600"/>
                  </a:lnTo>
                  <a:lnTo>
                    <a:pt x="12" y="1130300"/>
                  </a:lnTo>
                  <a:lnTo>
                    <a:pt x="4999" y="1143000"/>
                  </a:lnTo>
                  <a:lnTo>
                    <a:pt x="16321" y="1155700"/>
                  </a:lnTo>
                  <a:lnTo>
                    <a:pt x="35344" y="1168400"/>
                  </a:lnTo>
                  <a:lnTo>
                    <a:pt x="83076" y="1181100"/>
                  </a:lnTo>
                  <a:lnTo>
                    <a:pt x="130712" y="1206500"/>
                  </a:lnTo>
                  <a:lnTo>
                    <a:pt x="225785" y="1231900"/>
                  </a:lnTo>
                  <a:lnTo>
                    <a:pt x="273263" y="1257300"/>
                  </a:lnTo>
                  <a:lnTo>
                    <a:pt x="368210" y="1282700"/>
                  </a:lnTo>
                  <a:lnTo>
                    <a:pt x="415721" y="1308100"/>
                  </a:lnTo>
                  <a:lnTo>
                    <a:pt x="439222" y="1308100"/>
                  </a:lnTo>
                  <a:lnTo>
                    <a:pt x="487248" y="1333500"/>
                  </a:lnTo>
                  <a:lnTo>
                    <a:pt x="512063" y="1333500"/>
                  </a:lnTo>
                  <a:lnTo>
                    <a:pt x="531075" y="1282700"/>
                  </a:lnTo>
                  <a:lnTo>
                    <a:pt x="444728" y="1257300"/>
                  </a:lnTo>
                  <a:lnTo>
                    <a:pt x="461423" y="1219200"/>
                  </a:lnTo>
                  <a:lnTo>
                    <a:pt x="366255" y="1219200"/>
                  </a:lnTo>
                  <a:lnTo>
                    <a:pt x="225742" y="1181100"/>
                  </a:lnTo>
                  <a:lnTo>
                    <a:pt x="178986" y="1155700"/>
                  </a:lnTo>
                  <a:lnTo>
                    <a:pt x="85343" y="1130300"/>
                  </a:lnTo>
                  <a:lnTo>
                    <a:pt x="72374" y="1117600"/>
                  </a:lnTo>
                  <a:lnTo>
                    <a:pt x="64096" y="1104900"/>
                  </a:lnTo>
                  <a:lnTo>
                    <a:pt x="60476" y="1104900"/>
                  </a:lnTo>
                  <a:lnTo>
                    <a:pt x="61480" y="1092200"/>
                  </a:lnTo>
                  <a:lnTo>
                    <a:pt x="65711" y="1066800"/>
                  </a:lnTo>
                  <a:lnTo>
                    <a:pt x="69884" y="1041400"/>
                  </a:lnTo>
                  <a:lnTo>
                    <a:pt x="78727" y="1003300"/>
                  </a:lnTo>
                  <a:lnTo>
                    <a:pt x="248368" y="1003300"/>
                  </a:lnTo>
                  <a:lnTo>
                    <a:pt x="107327" y="952500"/>
                  </a:lnTo>
                  <a:lnTo>
                    <a:pt x="129802" y="901700"/>
                  </a:lnTo>
                  <a:lnTo>
                    <a:pt x="160260" y="863600"/>
                  </a:lnTo>
                  <a:lnTo>
                    <a:pt x="197085" y="825500"/>
                  </a:lnTo>
                  <a:lnTo>
                    <a:pt x="238661" y="787400"/>
                  </a:lnTo>
                  <a:lnTo>
                    <a:pt x="283375" y="762000"/>
                  </a:lnTo>
                  <a:lnTo>
                    <a:pt x="356438" y="762000"/>
                  </a:lnTo>
                  <a:lnTo>
                    <a:pt x="355385" y="749300"/>
                  </a:lnTo>
                  <a:lnTo>
                    <a:pt x="358598" y="736600"/>
                  </a:lnTo>
                  <a:lnTo>
                    <a:pt x="366319" y="736600"/>
                  </a:lnTo>
                  <a:lnTo>
                    <a:pt x="378790" y="723900"/>
                  </a:lnTo>
                  <a:lnTo>
                    <a:pt x="402720" y="723900"/>
                  </a:lnTo>
                  <a:lnTo>
                    <a:pt x="475767" y="711200"/>
                  </a:lnTo>
                  <a:lnTo>
                    <a:pt x="690024" y="711200"/>
                  </a:lnTo>
                  <a:lnTo>
                    <a:pt x="669458" y="698500"/>
                  </a:lnTo>
                  <a:lnTo>
                    <a:pt x="649686" y="685800"/>
                  </a:lnTo>
                  <a:close/>
                </a:path>
                <a:path w="952500" h="1536700">
                  <a:moveTo>
                    <a:pt x="248368" y="1003300"/>
                  </a:moveTo>
                  <a:lnTo>
                    <a:pt x="78727" y="1003300"/>
                  </a:lnTo>
                  <a:lnTo>
                    <a:pt x="436016" y="1130300"/>
                  </a:lnTo>
                  <a:lnTo>
                    <a:pt x="426265" y="1155700"/>
                  </a:lnTo>
                  <a:lnTo>
                    <a:pt x="416942" y="1168400"/>
                  </a:lnTo>
                  <a:lnTo>
                    <a:pt x="407393" y="1193800"/>
                  </a:lnTo>
                  <a:lnTo>
                    <a:pt x="396963" y="1219200"/>
                  </a:lnTo>
                  <a:lnTo>
                    <a:pt x="461423" y="1219200"/>
                  </a:lnTo>
                  <a:lnTo>
                    <a:pt x="522636" y="1079500"/>
                  </a:lnTo>
                  <a:lnTo>
                    <a:pt x="459930" y="1079500"/>
                  </a:lnTo>
                  <a:lnTo>
                    <a:pt x="248368" y="1003300"/>
                  </a:lnTo>
                  <a:close/>
                </a:path>
                <a:path w="952500" h="1536700">
                  <a:moveTo>
                    <a:pt x="356438" y="762000"/>
                  </a:moveTo>
                  <a:lnTo>
                    <a:pt x="283375" y="762000"/>
                  </a:lnTo>
                  <a:lnTo>
                    <a:pt x="306766" y="800100"/>
                  </a:lnTo>
                  <a:lnTo>
                    <a:pt x="329296" y="825500"/>
                  </a:lnTo>
                  <a:lnTo>
                    <a:pt x="353196" y="863600"/>
                  </a:lnTo>
                  <a:lnTo>
                    <a:pt x="380695" y="889000"/>
                  </a:lnTo>
                  <a:lnTo>
                    <a:pt x="412633" y="901700"/>
                  </a:lnTo>
                  <a:lnTo>
                    <a:pt x="448756" y="914400"/>
                  </a:lnTo>
                  <a:lnTo>
                    <a:pt x="487281" y="914400"/>
                  </a:lnTo>
                  <a:lnTo>
                    <a:pt x="526427" y="927100"/>
                  </a:lnTo>
                  <a:lnTo>
                    <a:pt x="459930" y="1079500"/>
                  </a:lnTo>
                  <a:lnTo>
                    <a:pt x="522636" y="1079500"/>
                  </a:lnTo>
                  <a:lnTo>
                    <a:pt x="617239" y="863600"/>
                  </a:lnTo>
                  <a:lnTo>
                    <a:pt x="475767" y="863600"/>
                  </a:lnTo>
                  <a:lnTo>
                    <a:pt x="434305" y="850900"/>
                  </a:lnTo>
                  <a:lnTo>
                    <a:pt x="398529" y="825500"/>
                  </a:lnTo>
                  <a:lnTo>
                    <a:pt x="371540" y="800100"/>
                  </a:lnTo>
                  <a:lnTo>
                    <a:pt x="356438" y="762000"/>
                  </a:lnTo>
                  <a:close/>
                </a:path>
                <a:path w="952500" h="1536700">
                  <a:moveTo>
                    <a:pt x="690024" y="711200"/>
                  </a:moveTo>
                  <a:lnTo>
                    <a:pt x="475767" y="711200"/>
                  </a:lnTo>
                  <a:lnTo>
                    <a:pt x="525129" y="723900"/>
                  </a:lnTo>
                  <a:lnTo>
                    <a:pt x="574890" y="723900"/>
                  </a:lnTo>
                  <a:lnTo>
                    <a:pt x="587810" y="736600"/>
                  </a:lnTo>
                  <a:lnTo>
                    <a:pt x="594885" y="736600"/>
                  </a:lnTo>
                  <a:lnTo>
                    <a:pt x="597195" y="749300"/>
                  </a:lnTo>
                  <a:lnTo>
                    <a:pt x="580532" y="800100"/>
                  </a:lnTo>
                  <a:lnTo>
                    <a:pt x="517280" y="850900"/>
                  </a:lnTo>
                  <a:lnTo>
                    <a:pt x="475767" y="863600"/>
                  </a:lnTo>
                  <a:lnTo>
                    <a:pt x="617239" y="863600"/>
                  </a:lnTo>
                  <a:lnTo>
                    <a:pt x="661758" y="762000"/>
                  </a:lnTo>
                  <a:lnTo>
                    <a:pt x="771151" y="762000"/>
                  </a:lnTo>
                  <a:lnTo>
                    <a:pt x="752291" y="749300"/>
                  </a:lnTo>
                  <a:lnTo>
                    <a:pt x="690024" y="711200"/>
                  </a:lnTo>
                  <a:close/>
                </a:path>
                <a:path w="952500" h="1536700">
                  <a:moveTo>
                    <a:pt x="764311" y="495300"/>
                  </a:moveTo>
                  <a:lnTo>
                    <a:pt x="701738" y="495300"/>
                  </a:lnTo>
                  <a:lnTo>
                    <a:pt x="685442" y="533400"/>
                  </a:lnTo>
                  <a:lnTo>
                    <a:pt x="658328" y="571500"/>
                  </a:lnTo>
                  <a:lnTo>
                    <a:pt x="622276" y="609600"/>
                  </a:lnTo>
                  <a:lnTo>
                    <a:pt x="579163" y="635000"/>
                  </a:lnTo>
                  <a:lnTo>
                    <a:pt x="530869" y="647700"/>
                  </a:lnTo>
                  <a:lnTo>
                    <a:pt x="479272" y="660400"/>
                  </a:lnTo>
                  <a:lnTo>
                    <a:pt x="318822" y="660400"/>
                  </a:lnTo>
                  <a:lnTo>
                    <a:pt x="334302" y="673100"/>
                  </a:lnTo>
                  <a:lnTo>
                    <a:pt x="321330" y="685800"/>
                  </a:lnTo>
                  <a:lnTo>
                    <a:pt x="631507" y="685800"/>
                  </a:lnTo>
                  <a:lnTo>
                    <a:pt x="658793" y="647700"/>
                  </a:lnTo>
                  <a:lnTo>
                    <a:pt x="686177" y="622300"/>
                  </a:lnTo>
                  <a:lnTo>
                    <a:pt x="712499" y="596900"/>
                  </a:lnTo>
                  <a:lnTo>
                    <a:pt x="736599" y="558800"/>
                  </a:lnTo>
                  <a:lnTo>
                    <a:pt x="758584" y="520700"/>
                  </a:lnTo>
                  <a:lnTo>
                    <a:pt x="764311" y="495300"/>
                  </a:lnTo>
                  <a:close/>
                </a:path>
                <a:path w="952500" h="1536700">
                  <a:moveTo>
                    <a:pt x="184111" y="38100"/>
                  </a:moveTo>
                  <a:lnTo>
                    <a:pt x="183960" y="88900"/>
                  </a:lnTo>
                  <a:lnTo>
                    <a:pt x="183529" y="152400"/>
                  </a:lnTo>
                  <a:lnTo>
                    <a:pt x="183057" y="228600"/>
                  </a:lnTo>
                  <a:lnTo>
                    <a:pt x="182934" y="317500"/>
                  </a:lnTo>
                  <a:lnTo>
                    <a:pt x="183195" y="355600"/>
                  </a:lnTo>
                  <a:lnTo>
                    <a:pt x="184096" y="406400"/>
                  </a:lnTo>
                  <a:lnTo>
                    <a:pt x="185699" y="457200"/>
                  </a:lnTo>
                  <a:lnTo>
                    <a:pt x="194078" y="508000"/>
                  </a:lnTo>
                  <a:lnTo>
                    <a:pt x="213850" y="558800"/>
                  </a:lnTo>
                  <a:lnTo>
                    <a:pt x="242997" y="596900"/>
                  </a:lnTo>
                  <a:lnTo>
                    <a:pt x="291730" y="647700"/>
                  </a:lnTo>
                  <a:lnTo>
                    <a:pt x="304734" y="660400"/>
                  </a:lnTo>
                  <a:lnTo>
                    <a:pt x="479272" y="660400"/>
                  </a:lnTo>
                  <a:lnTo>
                    <a:pt x="427553" y="647700"/>
                  </a:lnTo>
                  <a:lnTo>
                    <a:pt x="379072" y="635000"/>
                  </a:lnTo>
                  <a:lnTo>
                    <a:pt x="335749" y="609600"/>
                  </a:lnTo>
                  <a:lnTo>
                    <a:pt x="299505" y="571500"/>
                  </a:lnTo>
                  <a:lnTo>
                    <a:pt x="272259" y="533400"/>
                  </a:lnTo>
                  <a:lnTo>
                    <a:pt x="255930" y="495300"/>
                  </a:lnTo>
                  <a:lnTo>
                    <a:pt x="764311" y="495300"/>
                  </a:lnTo>
                  <a:lnTo>
                    <a:pt x="767174" y="482600"/>
                  </a:lnTo>
                  <a:lnTo>
                    <a:pt x="345668" y="482600"/>
                  </a:lnTo>
                  <a:lnTo>
                    <a:pt x="308238" y="457200"/>
                  </a:lnTo>
                  <a:lnTo>
                    <a:pt x="277410" y="431800"/>
                  </a:lnTo>
                  <a:lnTo>
                    <a:pt x="254591" y="393700"/>
                  </a:lnTo>
                  <a:lnTo>
                    <a:pt x="241185" y="342900"/>
                  </a:lnTo>
                  <a:lnTo>
                    <a:pt x="286453" y="330200"/>
                  </a:lnTo>
                  <a:lnTo>
                    <a:pt x="330225" y="304800"/>
                  </a:lnTo>
                  <a:lnTo>
                    <a:pt x="777500" y="304800"/>
                  </a:lnTo>
                  <a:lnTo>
                    <a:pt x="776986" y="279400"/>
                  </a:lnTo>
                  <a:lnTo>
                    <a:pt x="238074" y="279400"/>
                  </a:lnTo>
                  <a:lnTo>
                    <a:pt x="238163" y="152400"/>
                  </a:lnTo>
                  <a:lnTo>
                    <a:pt x="238400" y="152400"/>
                  </a:lnTo>
                  <a:lnTo>
                    <a:pt x="238899" y="139700"/>
                  </a:lnTo>
                  <a:lnTo>
                    <a:pt x="239513" y="127000"/>
                  </a:lnTo>
                  <a:lnTo>
                    <a:pt x="329913" y="127000"/>
                  </a:lnTo>
                  <a:lnTo>
                    <a:pt x="338958" y="88900"/>
                  </a:lnTo>
                  <a:lnTo>
                    <a:pt x="353707" y="63500"/>
                  </a:lnTo>
                  <a:lnTo>
                    <a:pt x="278599" y="63500"/>
                  </a:lnTo>
                  <a:lnTo>
                    <a:pt x="184111" y="38100"/>
                  </a:lnTo>
                  <a:close/>
                </a:path>
                <a:path w="952500" h="1536700">
                  <a:moveTo>
                    <a:pt x="701738" y="495300"/>
                  </a:moveTo>
                  <a:lnTo>
                    <a:pt x="255930" y="495300"/>
                  </a:lnTo>
                  <a:lnTo>
                    <a:pt x="395008" y="571500"/>
                  </a:lnTo>
                  <a:lnTo>
                    <a:pt x="408652" y="533400"/>
                  </a:lnTo>
                  <a:lnTo>
                    <a:pt x="424562" y="520700"/>
                  </a:lnTo>
                  <a:lnTo>
                    <a:pt x="452952" y="508000"/>
                  </a:lnTo>
                  <a:lnTo>
                    <a:pt x="676992" y="508000"/>
                  </a:lnTo>
                  <a:lnTo>
                    <a:pt x="701738" y="495300"/>
                  </a:lnTo>
                  <a:close/>
                </a:path>
                <a:path w="952500" h="1536700">
                  <a:moveTo>
                    <a:pt x="676992" y="508000"/>
                  </a:moveTo>
                  <a:lnTo>
                    <a:pt x="504037" y="508000"/>
                  </a:lnTo>
                  <a:lnTo>
                    <a:pt x="527263" y="520700"/>
                  </a:lnTo>
                  <a:lnTo>
                    <a:pt x="540794" y="520700"/>
                  </a:lnTo>
                  <a:lnTo>
                    <a:pt x="548253" y="546100"/>
                  </a:lnTo>
                  <a:lnTo>
                    <a:pt x="553262" y="571500"/>
                  </a:lnTo>
                  <a:lnTo>
                    <a:pt x="676992" y="508000"/>
                  </a:lnTo>
                  <a:close/>
                </a:path>
                <a:path w="952500" h="1536700">
                  <a:moveTo>
                    <a:pt x="507350" y="457200"/>
                  </a:moveTo>
                  <a:lnTo>
                    <a:pt x="416252" y="457200"/>
                  </a:lnTo>
                  <a:lnTo>
                    <a:pt x="370725" y="482600"/>
                  </a:lnTo>
                  <a:lnTo>
                    <a:pt x="601192" y="482600"/>
                  </a:lnTo>
                  <a:lnTo>
                    <a:pt x="507350" y="457200"/>
                  </a:lnTo>
                  <a:close/>
                </a:path>
                <a:path w="952500" h="1536700">
                  <a:moveTo>
                    <a:pt x="777500" y="304800"/>
                  </a:moveTo>
                  <a:lnTo>
                    <a:pt x="351815" y="304800"/>
                  </a:lnTo>
                  <a:lnTo>
                    <a:pt x="381573" y="330200"/>
                  </a:lnTo>
                  <a:lnTo>
                    <a:pt x="413061" y="330200"/>
                  </a:lnTo>
                  <a:lnTo>
                    <a:pt x="445748" y="342900"/>
                  </a:lnTo>
                  <a:lnTo>
                    <a:pt x="718019" y="342900"/>
                  </a:lnTo>
                  <a:lnTo>
                    <a:pt x="700028" y="393700"/>
                  </a:lnTo>
                  <a:lnTo>
                    <a:pt x="673507" y="431800"/>
                  </a:lnTo>
                  <a:lnTo>
                    <a:pt x="640036" y="457200"/>
                  </a:lnTo>
                  <a:lnTo>
                    <a:pt x="601192" y="482600"/>
                  </a:lnTo>
                  <a:lnTo>
                    <a:pt x="767174" y="482600"/>
                  </a:lnTo>
                  <a:lnTo>
                    <a:pt x="770038" y="469900"/>
                  </a:lnTo>
                  <a:lnTo>
                    <a:pt x="774641" y="431800"/>
                  </a:lnTo>
                  <a:lnTo>
                    <a:pt x="776074" y="381000"/>
                  </a:lnTo>
                  <a:lnTo>
                    <a:pt x="778014" y="330200"/>
                  </a:lnTo>
                  <a:lnTo>
                    <a:pt x="777500" y="304800"/>
                  </a:lnTo>
                  <a:close/>
                </a:path>
                <a:path w="952500" h="1536700">
                  <a:moveTo>
                    <a:pt x="368426" y="228600"/>
                  </a:moveTo>
                  <a:lnTo>
                    <a:pt x="309041" y="228600"/>
                  </a:lnTo>
                  <a:lnTo>
                    <a:pt x="298930" y="254000"/>
                  </a:lnTo>
                  <a:lnTo>
                    <a:pt x="284059" y="266700"/>
                  </a:lnTo>
                  <a:lnTo>
                    <a:pt x="263937" y="279400"/>
                  </a:lnTo>
                  <a:lnTo>
                    <a:pt x="418106" y="279400"/>
                  </a:lnTo>
                  <a:lnTo>
                    <a:pt x="396832" y="266700"/>
                  </a:lnTo>
                  <a:lnTo>
                    <a:pt x="379856" y="254000"/>
                  </a:lnTo>
                  <a:lnTo>
                    <a:pt x="368426" y="228600"/>
                  </a:lnTo>
                  <a:close/>
                </a:path>
                <a:path w="952500" h="1536700">
                  <a:moveTo>
                    <a:pt x="479523" y="0"/>
                  </a:moveTo>
                  <a:lnTo>
                    <a:pt x="349902" y="0"/>
                  </a:lnTo>
                  <a:lnTo>
                    <a:pt x="311832" y="25400"/>
                  </a:lnTo>
                  <a:lnTo>
                    <a:pt x="278599" y="63500"/>
                  </a:lnTo>
                  <a:lnTo>
                    <a:pt x="482180" y="63500"/>
                  </a:lnTo>
                  <a:lnTo>
                    <a:pt x="529422" y="76200"/>
                  </a:lnTo>
                  <a:lnTo>
                    <a:pt x="571951" y="88900"/>
                  </a:lnTo>
                  <a:lnTo>
                    <a:pt x="610101" y="114300"/>
                  </a:lnTo>
                  <a:lnTo>
                    <a:pt x="644201" y="152400"/>
                  </a:lnTo>
                  <a:lnTo>
                    <a:pt x="674586" y="190500"/>
                  </a:lnTo>
                  <a:lnTo>
                    <a:pt x="701586" y="228600"/>
                  </a:lnTo>
                  <a:lnTo>
                    <a:pt x="715902" y="266700"/>
                  </a:lnTo>
                  <a:lnTo>
                    <a:pt x="721283" y="279400"/>
                  </a:lnTo>
                  <a:lnTo>
                    <a:pt x="776986" y="279400"/>
                  </a:lnTo>
                  <a:lnTo>
                    <a:pt x="767369" y="241300"/>
                  </a:lnTo>
                  <a:lnTo>
                    <a:pt x="750347" y="190500"/>
                  </a:lnTo>
                  <a:lnTo>
                    <a:pt x="727104" y="152400"/>
                  </a:lnTo>
                  <a:lnTo>
                    <a:pt x="698825" y="114300"/>
                  </a:lnTo>
                  <a:lnTo>
                    <a:pt x="666693" y="88900"/>
                  </a:lnTo>
                  <a:lnTo>
                    <a:pt x="631894" y="63500"/>
                  </a:lnTo>
                  <a:lnTo>
                    <a:pt x="595610" y="38100"/>
                  </a:lnTo>
                  <a:lnTo>
                    <a:pt x="523328" y="12700"/>
                  </a:lnTo>
                  <a:lnTo>
                    <a:pt x="479523" y="0"/>
                  </a:lnTo>
                  <a:close/>
                </a:path>
                <a:path w="952500" h="1536700">
                  <a:moveTo>
                    <a:pt x="356236" y="215900"/>
                  </a:moveTo>
                  <a:lnTo>
                    <a:pt x="320686" y="215900"/>
                  </a:lnTo>
                  <a:lnTo>
                    <a:pt x="313296" y="228600"/>
                  </a:lnTo>
                  <a:lnTo>
                    <a:pt x="364206" y="228600"/>
                  </a:lnTo>
                  <a:lnTo>
                    <a:pt x="356236" y="215900"/>
                  </a:lnTo>
                  <a:close/>
                </a:path>
                <a:path w="952500" h="1536700">
                  <a:moveTo>
                    <a:pt x="329913" y="127000"/>
                  </a:moveTo>
                  <a:lnTo>
                    <a:pt x="240093" y="127000"/>
                  </a:lnTo>
                  <a:lnTo>
                    <a:pt x="326897" y="139700"/>
                  </a:lnTo>
                  <a:lnTo>
                    <a:pt x="329913" y="12700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object 9">
              <a:extLst>
                <a:ext uri="{FF2B5EF4-FFF2-40B4-BE49-F238E27FC236}">
                  <a16:creationId xmlns:a16="http://schemas.microsoft.com/office/drawing/2014/main" id="{8A6938A1-6DFE-4F2E-A020-880E28295FD0}"/>
                </a:ext>
              </a:extLst>
            </p:cNvPr>
            <p:cNvSpPr/>
            <p:nvPr/>
          </p:nvSpPr>
          <p:spPr>
            <a:xfrm>
              <a:off x="5969544" y="2778324"/>
              <a:ext cx="497205" cy="118300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11FF21A0-E99E-4F40-B1B5-7C602DD49E5A}"/>
              </a:ext>
              <a:ext uri="{C183D7F6-B498-43B3-948B-1728B52AA6E4}">
                <adec:decorative xmlns:adec="http://schemas.microsoft.com/office/drawing/2017/decorative" val="1"/>
              </a:ext>
            </a:extLst>
          </p:cNvPr>
          <p:cNvGrpSpPr/>
          <p:nvPr userDrawn="1"/>
        </p:nvGrpSpPr>
        <p:grpSpPr>
          <a:xfrm>
            <a:off x="8799289" y="5651087"/>
            <a:ext cx="396765" cy="927265"/>
            <a:chOff x="8799289" y="5651087"/>
            <a:chExt cx="396765" cy="927265"/>
          </a:xfrm>
        </p:grpSpPr>
        <p:grpSp>
          <p:nvGrpSpPr>
            <p:cNvPr id="80" name="Group 79" descr="Icon of a person holding a newborn baby" title="New Parent">
              <a:extLst>
                <a:ext uri="{FF2B5EF4-FFF2-40B4-BE49-F238E27FC236}">
                  <a16:creationId xmlns:a16="http://schemas.microsoft.com/office/drawing/2014/main" id="{CAA13E4C-39DF-41A5-9895-0F2235535228}"/>
                </a:ext>
              </a:extLst>
            </p:cNvPr>
            <p:cNvGrpSpPr>
              <a:grpSpLocks noChangeAspect="1"/>
            </p:cNvGrpSpPr>
            <p:nvPr/>
          </p:nvGrpSpPr>
          <p:grpSpPr>
            <a:xfrm>
              <a:off x="8799289" y="5651087"/>
              <a:ext cx="396765" cy="640538"/>
              <a:chOff x="9036285" y="1766858"/>
              <a:chExt cx="951865" cy="1536700"/>
            </a:xfrm>
            <a:solidFill>
              <a:schemeClr val="bg1"/>
            </a:solidFill>
          </p:grpSpPr>
          <p:sp>
            <p:nvSpPr>
              <p:cNvPr id="82" name="object 15">
                <a:extLst>
                  <a:ext uri="{FF2B5EF4-FFF2-40B4-BE49-F238E27FC236}">
                    <a16:creationId xmlns:a16="http://schemas.microsoft.com/office/drawing/2014/main" id="{A5E9FACC-E7A4-447F-BFDC-5A4FD8843F7E}"/>
                  </a:ext>
                </a:extLst>
              </p:cNvPr>
              <p:cNvSpPr/>
              <p:nvPr/>
            </p:nvSpPr>
            <p:spPr>
              <a:xfrm>
                <a:off x="9036285" y="1766858"/>
                <a:ext cx="951865" cy="1536700"/>
              </a:xfrm>
              <a:custGeom>
                <a:avLst/>
                <a:gdLst/>
                <a:ahLst/>
                <a:cxnLst/>
                <a:rect l="l" t="t" r="r" b="b"/>
                <a:pathLst>
                  <a:path w="951865" h="1536700">
                    <a:moveTo>
                      <a:pt x="755986" y="762000"/>
                    </a:moveTo>
                    <a:lnTo>
                      <a:pt x="667851" y="762000"/>
                    </a:lnTo>
                    <a:lnTo>
                      <a:pt x="714161" y="800100"/>
                    </a:lnTo>
                    <a:lnTo>
                      <a:pt x="755223" y="825500"/>
                    </a:lnTo>
                    <a:lnTo>
                      <a:pt x="791018" y="863600"/>
                    </a:lnTo>
                    <a:lnTo>
                      <a:pt x="821528" y="901700"/>
                    </a:lnTo>
                    <a:lnTo>
                      <a:pt x="846735" y="939800"/>
                    </a:lnTo>
                    <a:lnTo>
                      <a:pt x="866620" y="990600"/>
                    </a:lnTo>
                    <a:lnTo>
                      <a:pt x="881165" y="1041400"/>
                    </a:lnTo>
                    <a:lnTo>
                      <a:pt x="890353" y="1092200"/>
                    </a:lnTo>
                    <a:lnTo>
                      <a:pt x="894165" y="1143000"/>
                    </a:lnTo>
                    <a:lnTo>
                      <a:pt x="894950" y="1193800"/>
                    </a:lnTo>
                    <a:lnTo>
                      <a:pt x="895221" y="1231900"/>
                    </a:lnTo>
                    <a:lnTo>
                      <a:pt x="895331" y="1308100"/>
                    </a:lnTo>
                    <a:lnTo>
                      <a:pt x="895225" y="1346200"/>
                    </a:lnTo>
                    <a:lnTo>
                      <a:pt x="895003" y="1397000"/>
                    </a:lnTo>
                    <a:lnTo>
                      <a:pt x="894815" y="1447800"/>
                    </a:lnTo>
                    <a:lnTo>
                      <a:pt x="894774" y="1498600"/>
                    </a:lnTo>
                    <a:lnTo>
                      <a:pt x="894991" y="1511300"/>
                    </a:lnTo>
                    <a:lnTo>
                      <a:pt x="895489" y="1524000"/>
                    </a:lnTo>
                    <a:lnTo>
                      <a:pt x="896096" y="1536700"/>
                    </a:lnTo>
                    <a:lnTo>
                      <a:pt x="951188" y="1536700"/>
                    </a:lnTo>
                    <a:lnTo>
                      <a:pt x="951246" y="1485900"/>
                    </a:lnTo>
                    <a:lnTo>
                      <a:pt x="951678" y="1346200"/>
                    </a:lnTo>
                    <a:lnTo>
                      <a:pt x="951561" y="1231900"/>
                    </a:lnTo>
                    <a:lnTo>
                      <a:pt x="951345" y="1193800"/>
                    </a:lnTo>
                    <a:lnTo>
                      <a:pt x="950807" y="1143000"/>
                    </a:lnTo>
                    <a:lnTo>
                      <a:pt x="948076" y="1092200"/>
                    </a:lnTo>
                    <a:lnTo>
                      <a:pt x="941212" y="1041400"/>
                    </a:lnTo>
                    <a:lnTo>
                      <a:pt x="930166" y="1003300"/>
                    </a:lnTo>
                    <a:lnTo>
                      <a:pt x="914888" y="952500"/>
                    </a:lnTo>
                    <a:lnTo>
                      <a:pt x="895329" y="914400"/>
                    </a:lnTo>
                    <a:lnTo>
                      <a:pt x="871439" y="876300"/>
                    </a:lnTo>
                    <a:lnTo>
                      <a:pt x="843169" y="838200"/>
                    </a:lnTo>
                    <a:lnTo>
                      <a:pt x="810467" y="800100"/>
                    </a:lnTo>
                    <a:lnTo>
                      <a:pt x="773286" y="774700"/>
                    </a:lnTo>
                    <a:lnTo>
                      <a:pt x="755986" y="762000"/>
                    </a:lnTo>
                    <a:close/>
                  </a:path>
                  <a:path w="951865" h="1536700">
                    <a:moveTo>
                      <a:pt x="626716" y="673100"/>
                    </a:moveTo>
                    <a:lnTo>
                      <a:pt x="326488" y="673100"/>
                    </a:lnTo>
                    <a:lnTo>
                      <a:pt x="327554" y="685800"/>
                    </a:lnTo>
                    <a:lnTo>
                      <a:pt x="314092" y="685800"/>
                    </a:lnTo>
                    <a:lnTo>
                      <a:pt x="307031" y="698500"/>
                    </a:lnTo>
                    <a:lnTo>
                      <a:pt x="258295" y="711200"/>
                    </a:lnTo>
                    <a:lnTo>
                      <a:pt x="213668" y="749300"/>
                    </a:lnTo>
                    <a:lnTo>
                      <a:pt x="173169" y="774700"/>
                    </a:lnTo>
                    <a:lnTo>
                      <a:pt x="136817" y="800100"/>
                    </a:lnTo>
                    <a:lnTo>
                      <a:pt x="104630" y="838200"/>
                    </a:lnTo>
                    <a:lnTo>
                      <a:pt x="76629" y="876300"/>
                    </a:lnTo>
                    <a:lnTo>
                      <a:pt x="52833" y="927100"/>
                    </a:lnTo>
                    <a:lnTo>
                      <a:pt x="33260" y="965200"/>
                    </a:lnTo>
                    <a:lnTo>
                      <a:pt x="17929" y="1016000"/>
                    </a:lnTo>
                    <a:lnTo>
                      <a:pt x="6860" y="1066800"/>
                    </a:lnTo>
                    <a:lnTo>
                      <a:pt x="72" y="1117600"/>
                    </a:lnTo>
                    <a:lnTo>
                      <a:pt x="0" y="1143000"/>
                    </a:lnTo>
                    <a:lnTo>
                      <a:pt x="4444" y="1155700"/>
                    </a:lnTo>
                    <a:lnTo>
                      <a:pt x="15056" y="1168400"/>
                    </a:lnTo>
                    <a:lnTo>
                      <a:pt x="33486" y="1168400"/>
                    </a:lnTo>
                    <a:lnTo>
                      <a:pt x="159994" y="1206500"/>
                    </a:lnTo>
                    <a:lnTo>
                      <a:pt x="202066" y="1231900"/>
                    </a:lnTo>
                    <a:lnTo>
                      <a:pt x="471115" y="1308100"/>
                    </a:lnTo>
                    <a:lnTo>
                      <a:pt x="520844" y="1320800"/>
                    </a:lnTo>
                    <a:lnTo>
                      <a:pt x="565968" y="1308100"/>
                    </a:lnTo>
                    <a:lnTo>
                      <a:pt x="602124" y="1282700"/>
                    </a:lnTo>
                    <a:lnTo>
                      <a:pt x="609733" y="1270000"/>
                    </a:lnTo>
                    <a:lnTo>
                      <a:pt x="511184" y="1270000"/>
                    </a:lnTo>
                    <a:lnTo>
                      <a:pt x="509870" y="1244600"/>
                    </a:lnTo>
                    <a:lnTo>
                      <a:pt x="447760" y="1244600"/>
                    </a:lnTo>
                    <a:lnTo>
                      <a:pt x="346122" y="1219200"/>
                    </a:lnTo>
                    <a:lnTo>
                      <a:pt x="368419" y="1181100"/>
                    </a:lnTo>
                    <a:lnTo>
                      <a:pt x="254821" y="1181100"/>
                    </a:lnTo>
                    <a:lnTo>
                      <a:pt x="215839" y="1168400"/>
                    </a:lnTo>
                    <a:lnTo>
                      <a:pt x="184070" y="1155700"/>
                    </a:lnTo>
                    <a:lnTo>
                      <a:pt x="169704" y="1130300"/>
                    </a:lnTo>
                    <a:lnTo>
                      <a:pt x="79270" y="1130300"/>
                    </a:lnTo>
                    <a:lnTo>
                      <a:pt x="66345" y="1117600"/>
                    </a:lnTo>
                    <a:lnTo>
                      <a:pt x="60629" y="1104900"/>
                    </a:lnTo>
                    <a:lnTo>
                      <a:pt x="61159" y="1079500"/>
                    </a:lnTo>
                    <a:lnTo>
                      <a:pt x="70939" y="1028700"/>
                    </a:lnTo>
                    <a:lnTo>
                      <a:pt x="86150" y="990600"/>
                    </a:lnTo>
                    <a:lnTo>
                      <a:pt x="106776" y="939800"/>
                    </a:lnTo>
                    <a:lnTo>
                      <a:pt x="132800" y="901700"/>
                    </a:lnTo>
                    <a:lnTo>
                      <a:pt x="167204" y="850900"/>
                    </a:lnTo>
                    <a:lnTo>
                      <a:pt x="206477" y="812800"/>
                    </a:lnTo>
                    <a:lnTo>
                      <a:pt x="251006" y="787400"/>
                    </a:lnTo>
                    <a:lnTo>
                      <a:pt x="301176" y="762000"/>
                    </a:lnTo>
                    <a:lnTo>
                      <a:pt x="371735" y="762000"/>
                    </a:lnTo>
                    <a:lnTo>
                      <a:pt x="359457" y="736600"/>
                    </a:lnTo>
                    <a:lnTo>
                      <a:pt x="406453" y="723900"/>
                    </a:lnTo>
                    <a:lnTo>
                      <a:pt x="702177" y="723900"/>
                    </a:lnTo>
                    <a:lnTo>
                      <a:pt x="626716" y="673100"/>
                    </a:lnTo>
                    <a:close/>
                  </a:path>
                  <a:path w="951865" h="1536700">
                    <a:moveTo>
                      <a:pt x="608513" y="1130300"/>
                    </a:moveTo>
                    <a:lnTo>
                      <a:pt x="503957" y="1130300"/>
                    </a:lnTo>
                    <a:lnTo>
                      <a:pt x="531960" y="1143000"/>
                    </a:lnTo>
                    <a:lnTo>
                      <a:pt x="553106" y="1155700"/>
                    </a:lnTo>
                    <a:lnTo>
                      <a:pt x="566804" y="1168400"/>
                    </a:lnTo>
                    <a:lnTo>
                      <a:pt x="572461" y="1193800"/>
                    </a:lnTo>
                    <a:lnTo>
                      <a:pt x="569800" y="1219200"/>
                    </a:lnTo>
                    <a:lnTo>
                      <a:pt x="558858" y="1244600"/>
                    </a:lnTo>
                    <a:lnTo>
                      <a:pt x="539398" y="1257300"/>
                    </a:lnTo>
                    <a:lnTo>
                      <a:pt x="511184" y="1270000"/>
                    </a:lnTo>
                    <a:lnTo>
                      <a:pt x="609733" y="1270000"/>
                    </a:lnTo>
                    <a:lnTo>
                      <a:pt x="624950" y="1244600"/>
                    </a:lnTo>
                    <a:lnTo>
                      <a:pt x="630924" y="1193800"/>
                    </a:lnTo>
                    <a:lnTo>
                      <a:pt x="618356" y="1143000"/>
                    </a:lnTo>
                    <a:lnTo>
                      <a:pt x="608513" y="1130300"/>
                    </a:lnTo>
                    <a:close/>
                  </a:path>
                  <a:path w="951865" h="1536700">
                    <a:moveTo>
                      <a:pt x="588828" y="1104900"/>
                    </a:moveTo>
                    <a:lnTo>
                      <a:pt x="413013" y="1104900"/>
                    </a:lnTo>
                    <a:lnTo>
                      <a:pt x="434839" y="1117600"/>
                    </a:lnTo>
                    <a:lnTo>
                      <a:pt x="447574" y="1143000"/>
                    </a:lnTo>
                    <a:lnTo>
                      <a:pt x="451716" y="1181100"/>
                    </a:lnTo>
                    <a:lnTo>
                      <a:pt x="447760" y="1244600"/>
                    </a:lnTo>
                    <a:lnTo>
                      <a:pt x="509870" y="1244600"/>
                    </a:lnTo>
                    <a:lnTo>
                      <a:pt x="503957" y="1130300"/>
                    </a:lnTo>
                    <a:lnTo>
                      <a:pt x="608513" y="1130300"/>
                    </a:lnTo>
                    <a:lnTo>
                      <a:pt x="588828" y="1104900"/>
                    </a:lnTo>
                    <a:close/>
                  </a:path>
                  <a:path w="951865" h="1536700">
                    <a:moveTo>
                      <a:pt x="371509" y="977900"/>
                    </a:moveTo>
                    <a:lnTo>
                      <a:pt x="250923" y="977900"/>
                    </a:lnTo>
                    <a:lnTo>
                      <a:pt x="288811" y="990600"/>
                    </a:lnTo>
                    <a:lnTo>
                      <a:pt x="319734" y="1016000"/>
                    </a:lnTo>
                    <a:lnTo>
                      <a:pt x="340566" y="1041400"/>
                    </a:lnTo>
                    <a:lnTo>
                      <a:pt x="348179" y="1079500"/>
                    </a:lnTo>
                    <a:lnTo>
                      <a:pt x="341075" y="1117600"/>
                    </a:lnTo>
                    <a:lnTo>
                      <a:pt x="321493" y="1143000"/>
                    </a:lnTo>
                    <a:lnTo>
                      <a:pt x="291915" y="1168400"/>
                    </a:lnTo>
                    <a:lnTo>
                      <a:pt x="254821" y="1181100"/>
                    </a:lnTo>
                    <a:lnTo>
                      <a:pt x="368419" y="1181100"/>
                    </a:lnTo>
                    <a:lnTo>
                      <a:pt x="413013" y="1104900"/>
                    </a:lnTo>
                    <a:lnTo>
                      <a:pt x="588828" y="1104900"/>
                    </a:lnTo>
                    <a:lnTo>
                      <a:pt x="543924" y="1079500"/>
                    </a:lnTo>
                    <a:lnTo>
                      <a:pt x="521066" y="1079500"/>
                    </a:lnTo>
                    <a:lnTo>
                      <a:pt x="509543" y="1066800"/>
                    </a:lnTo>
                    <a:lnTo>
                      <a:pt x="497988" y="1066800"/>
                    </a:lnTo>
                    <a:lnTo>
                      <a:pt x="459763" y="1054100"/>
                    </a:lnTo>
                    <a:lnTo>
                      <a:pt x="423528" y="1041400"/>
                    </a:lnTo>
                    <a:lnTo>
                      <a:pt x="392904" y="1016000"/>
                    </a:lnTo>
                    <a:lnTo>
                      <a:pt x="371509" y="977900"/>
                    </a:lnTo>
                    <a:close/>
                  </a:path>
                  <a:path w="951865" h="1536700">
                    <a:moveTo>
                      <a:pt x="290400" y="838200"/>
                    </a:moveTo>
                    <a:lnTo>
                      <a:pt x="255266" y="838200"/>
                    </a:lnTo>
                    <a:lnTo>
                      <a:pt x="255559" y="850900"/>
                    </a:lnTo>
                    <a:lnTo>
                      <a:pt x="255439" y="863600"/>
                    </a:lnTo>
                    <a:lnTo>
                      <a:pt x="256464" y="876300"/>
                    </a:lnTo>
                    <a:lnTo>
                      <a:pt x="260194" y="876300"/>
                    </a:lnTo>
                    <a:lnTo>
                      <a:pt x="274521" y="901700"/>
                    </a:lnTo>
                    <a:lnTo>
                      <a:pt x="270258" y="914400"/>
                    </a:lnTo>
                    <a:lnTo>
                      <a:pt x="253889" y="927100"/>
                    </a:lnTo>
                    <a:lnTo>
                      <a:pt x="231898" y="927100"/>
                    </a:lnTo>
                    <a:lnTo>
                      <a:pt x="182392" y="939800"/>
                    </a:lnTo>
                    <a:lnTo>
                      <a:pt x="143211" y="965200"/>
                    </a:lnTo>
                    <a:lnTo>
                      <a:pt x="115616" y="1003300"/>
                    </a:lnTo>
                    <a:lnTo>
                      <a:pt x="100871" y="1054100"/>
                    </a:lnTo>
                    <a:lnTo>
                      <a:pt x="100237" y="1104900"/>
                    </a:lnTo>
                    <a:lnTo>
                      <a:pt x="101190" y="1117600"/>
                    </a:lnTo>
                    <a:lnTo>
                      <a:pt x="100364" y="1117600"/>
                    </a:lnTo>
                    <a:lnTo>
                      <a:pt x="100364" y="1130300"/>
                    </a:lnTo>
                    <a:lnTo>
                      <a:pt x="169704" y="1130300"/>
                    </a:lnTo>
                    <a:lnTo>
                      <a:pt x="162521" y="1117600"/>
                    </a:lnTo>
                    <a:lnTo>
                      <a:pt x="154199" y="1079500"/>
                    </a:lnTo>
                    <a:lnTo>
                      <a:pt x="161554" y="1041400"/>
                    </a:lnTo>
                    <a:lnTo>
                      <a:pt x="182577" y="1016000"/>
                    </a:lnTo>
                    <a:lnTo>
                      <a:pt x="213592" y="990600"/>
                    </a:lnTo>
                    <a:lnTo>
                      <a:pt x="250923" y="977900"/>
                    </a:lnTo>
                    <a:lnTo>
                      <a:pt x="369121" y="977900"/>
                    </a:lnTo>
                    <a:lnTo>
                      <a:pt x="361667" y="965200"/>
                    </a:lnTo>
                    <a:lnTo>
                      <a:pt x="355075" y="965200"/>
                    </a:lnTo>
                    <a:lnTo>
                      <a:pt x="342560" y="952500"/>
                    </a:lnTo>
                    <a:lnTo>
                      <a:pt x="334782" y="939800"/>
                    </a:lnTo>
                    <a:lnTo>
                      <a:pt x="331588" y="927100"/>
                    </a:lnTo>
                    <a:lnTo>
                      <a:pt x="332825" y="914400"/>
                    </a:lnTo>
                    <a:lnTo>
                      <a:pt x="331345" y="876300"/>
                    </a:lnTo>
                    <a:lnTo>
                      <a:pt x="316482" y="863600"/>
                    </a:lnTo>
                    <a:lnTo>
                      <a:pt x="290400" y="838200"/>
                    </a:lnTo>
                    <a:close/>
                  </a:path>
                  <a:path w="951865" h="1536700">
                    <a:moveTo>
                      <a:pt x="371735" y="762000"/>
                    </a:moveTo>
                    <a:lnTo>
                      <a:pt x="301176" y="762000"/>
                    </a:lnTo>
                    <a:lnTo>
                      <a:pt x="323961" y="800100"/>
                    </a:lnTo>
                    <a:lnTo>
                      <a:pt x="352637" y="838200"/>
                    </a:lnTo>
                    <a:lnTo>
                      <a:pt x="387537" y="863600"/>
                    </a:lnTo>
                    <a:lnTo>
                      <a:pt x="428993" y="889000"/>
                    </a:lnTo>
                    <a:lnTo>
                      <a:pt x="524677" y="889000"/>
                    </a:lnTo>
                    <a:lnTo>
                      <a:pt x="565133" y="863600"/>
                    </a:lnTo>
                    <a:lnTo>
                      <a:pt x="598981" y="838200"/>
                    </a:lnTo>
                    <a:lnTo>
                      <a:pt x="481694" y="838200"/>
                    </a:lnTo>
                    <a:lnTo>
                      <a:pt x="441188" y="825500"/>
                    </a:lnTo>
                    <a:lnTo>
                      <a:pt x="405850" y="812800"/>
                    </a:lnTo>
                    <a:lnTo>
                      <a:pt x="377874" y="774700"/>
                    </a:lnTo>
                    <a:lnTo>
                      <a:pt x="371735" y="762000"/>
                    </a:lnTo>
                    <a:close/>
                  </a:path>
                  <a:path w="951865" h="1536700">
                    <a:moveTo>
                      <a:pt x="702177" y="723900"/>
                    </a:moveTo>
                    <a:lnTo>
                      <a:pt x="544528" y="723900"/>
                    </a:lnTo>
                    <a:lnTo>
                      <a:pt x="590178" y="736600"/>
                    </a:lnTo>
                    <a:lnTo>
                      <a:pt x="576603" y="774700"/>
                    </a:lnTo>
                    <a:lnTo>
                      <a:pt x="552595" y="800100"/>
                    </a:lnTo>
                    <a:lnTo>
                      <a:pt x="520258" y="825500"/>
                    </a:lnTo>
                    <a:lnTo>
                      <a:pt x="481694" y="838200"/>
                    </a:lnTo>
                    <a:lnTo>
                      <a:pt x="598981" y="838200"/>
                    </a:lnTo>
                    <a:lnTo>
                      <a:pt x="626495" y="800100"/>
                    </a:lnTo>
                    <a:lnTo>
                      <a:pt x="647950" y="762000"/>
                    </a:lnTo>
                    <a:lnTo>
                      <a:pt x="755986" y="762000"/>
                    </a:lnTo>
                    <a:lnTo>
                      <a:pt x="738685" y="749300"/>
                    </a:lnTo>
                    <a:lnTo>
                      <a:pt x="702177" y="723900"/>
                    </a:lnTo>
                    <a:close/>
                  </a:path>
                  <a:path w="951865" h="1536700">
                    <a:moveTo>
                      <a:pt x="601701" y="12700"/>
                    </a:moveTo>
                    <a:lnTo>
                      <a:pt x="432560" y="12700"/>
                    </a:lnTo>
                    <a:lnTo>
                      <a:pt x="396401" y="25400"/>
                    </a:lnTo>
                    <a:lnTo>
                      <a:pt x="351709" y="38100"/>
                    </a:lnTo>
                    <a:lnTo>
                      <a:pt x="311077" y="63500"/>
                    </a:lnTo>
                    <a:lnTo>
                      <a:pt x="275013" y="88900"/>
                    </a:lnTo>
                    <a:lnTo>
                      <a:pt x="244027" y="114300"/>
                    </a:lnTo>
                    <a:lnTo>
                      <a:pt x="218625" y="152400"/>
                    </a:lnTo>
                    <a:lnTo>
                      <a:pt x="199317" y="190500"/>
                    </a:lnTo>
                    <a:lnTo>
                      <a:pt x="186610" y="241300"/>
                    </a:lnTo>
                    <a:lnTo>
                      <a:pt x="180155" y="304800"/>
                    </a:lnTo>
                    <a:lnTo>
                      <a:pt x="179520" y="342900"/>
                    </a:lnTo>
                    <a:lnTo>
                      <a:pt x="178710" y="381000"/>
                    </a:lnTo>
                    <a:lnTo>
                      <a:pt x="179644" y="431800"/>
                    </a:lnTo>
                    <a:lnTo>
                      <a:pt x="186812" y="482600"/>
                    </a:lnTo>
                    <a:lnTo>
                      <a:pt x="200475" y="520700"/>
                    </a:lnTo>
                    <a:lnTo>
                      <a:pt x="220895" y="571500"/>
                    </a:lnTo>
                    <a:lnTo>
                      <a:pt x="248334" y="609600"/>
                    </a:lnTo>
                    <a:lnTo>
                      <a:pt x="283055" y="647700"/>
                    </a:lnTo>
                    <a:lnTo>
                      <a:pt x="325319" y="673100"/>
                    </a:lnTo>
                    <a:lnTo>
                      <a:pt x="637663" y="673100"/>
                    </a:lnTo>
                    <a:lnTo>
                      <a:pt x="643886" y="660400"/>
                    </a:lnTo>
                    <a:lnTo>
                      <a:pt x="466044" y="660400"/>
                    </a:lnTo>
                    <a:lnTo>
                      <a:pt x="421727" y="647700"/>
                    </a:lnTo>
                    <a:lnTo>
                      <a:pt x="380584" y="635000"/>
                    </a:lnTo>
                    <a:lnTo>
                      <a:pt x="343266" y="622300"/>
                    </a:lnTo>
                    <a:lnTo>
                      <a:pt x="310423" y="596900"/>
                    </a:lnTo>
                    <a:lnTo>
                      <a:pt x="282705" y="558800"/>
                    </a:lnTo>
                    <a:lnTo>
                      <a:pt x="260762" y="520700"/>
                    </a:lnTo>
                    <a:lnTo>
                      <a:pt x="245246" y="482600"/>
                    </a:lnTo>
                    <a:lnTo>
                      <a:pt x="241495" y="457200"/>
                    </a:lnTo>
                    <a:lnTo>
                      <a:pt x="239040" y="444500"/>
                    </a:lnTo>
                    <a:lnTo>
                      <a:pt x="237136" y="419100"/>
                    </a:lnTo>
                    <a:lnTo>
                      <a:pt x="235035" y="406400"/>
                    </a:lnTo>
                    <a:lnTo>
                      <a:pt x="237003" y="406400"/>
                    </a:lnTo>
                    <a:lnTo>
                      <a:pt x="237145" y="393700"/>
                    </a:lnTo>
                    <a:lnTo>
                      <a:pt x="237365" y="393700"/>
                    </a:lnTo>
                    <a:lnTo>
                      <a:pt x="237357" y="381000"/>
                    </a:lnTo>
                    <a:lnTo>
                      <a:pt x="236813" y="381000"/>
                    </a:lnTo>
                    <a:lnTo>
                      <a:pt x="237180" y="355600"/>
                    </a:lnTo>
                    <a:lnTo>
                      <a:pt x="243760" y="342900"/>
                    </a:lnTo>
                    <a:lnTo>
                      <a:pt x="514053" y="342900"/>
                    </a:lnTo>
                    <a:lnTo>
                      <a:pt x="573623" y="317500"/>
                    </a:lnTo>
                    <a:lnTo>
                      <a:pt x="776380" y="317500"/>
                    </a:lnTo>
                    <a:lnTo>
                      <a:pt x="776197" y="292100"/>
                    </a:lnTo>
                    <a:lnTo>
                      <a:pt x="241423" y="292100"/>
                    </a:lnTo>
                    <a:lnTo>
                      <a:pt x="245585" y="241300"/>
                    </a:lnTo>
                    <a:lnTo>
                      <a:pt x="258567" y="203200"/>
                    </a:lnTo>
                    <a:lnTo>
                      <a:pt x="279694" y="165100"/>
                    </a:lnTo>
                    <a:lnTo>
                      <a:pt x="308291" y="127000"/>
                    </a:lnTo>
                    <a:lnTo>
                      <a:pt x="343683" y="101600"/>
                    </a:lnTo>
                    <a:lnTo>
                      <a:pt x="385195" y="88900"/>
                    </a:lnTo>
                    <a:lnTo>
                      <a:pt x="432152" y="76200"/>
                    </a:lnTo>
                    <a:lnTo>
                      <a:pt x="457004" y="76200"/>
                    </a:lnTo>
                    <a:lnTo>
                      <a:pt x="482047" y="63500"/>
                    </a:lnTo>
                    <a:lnTo>
                      <a:pt x="641943" y="63500"/>
                    </a:lnTo>
                    <a:lnTo>
                      <a:pt x="624404" y="38100"/>
                    </a:lnTo>
                    <a:lnTo>
                      <a:pt x="601701" y="12700"/>
                    </a:lnTo>
                    <a:close/>
                  </a:path>
                  <a:path w="951865" h="1536700">
                    <a:moveTo>
                      <a:pt x="776380" y="317500"/>
                    </a:moveTo>
                    <a:lnTo>
                      <a:pt x="647963" y="317500"/>
                    </a:lnTo>
                    <a:lnTo>
                      <a:pt x="655845" y="330200"/>
                    </a:lnTo>
                    <a:lnTo>
                      <a:pt x="663990" y="330200"/>
                    </a:lnTo>
                    <a:lnTo>
                      <a:pt x="697445" y="342900"/>
                    </a:lnTo>
                    <a:lnTo>
                      <a:pt x="714344" y="355600"/>
                    </a:lnTo>
                    <a:lnTo>
                      <a:pt x="719820" y="381000"/>
                    </a:lnTo>
                    <a:lnTo>
                      <a:pt x="719006" y="419100"/>
                    </a:lnTo>
                    <a:lnTo>
                      <a:pt x="711796" y="469900"/>
                    </a:lnTo>
                    <a:lnTo>
                      <a:pt x="695472" y="520700"/>
                    </a:lnTo>
                    <a:lnTo>
                      <a:pt x="671056" y="558800"/>
                    </a:lnTo>
                    <a:lnTo>
                      <a:pt x="639568" y="596900"/>
                    </a:lnTo>
                    <a:lnTo>
                      <a:pt x="602029" y="622300"/>
                    </a:lnTo>
                    <a:lnTo>
                      <a:pt x="559462" y="647700"/>
                    </a:lnTo>
                    <a:lnTo>
                      <a:pt x="512885" y="660400"/>
                    </a:lnTo>
                    <a:lnTo>
                      <a:pt x="643886" y="660400"/>
                    </a:lnTo>
                    <a:lnTo>
                      <a:pt x="682613" y="635000"/>
                    </a:lnTo>
                    <a:lnTo>
                      <a:pt x="714871" y="596900"/>
                    </a:lnTo>
                    <a:lnTo>
                      <a:pt x="740473" y="558800"/>
                    </a:lnTo>
                    <a:lnTo>
                      <a:pt x="759226" y="520700"/>
                    </a:lnTo>
                    <a:lnTo>
                      <a:pt x="770943" y="469900"/>
                    </a:lnTo>
                    <a:lnTo>
                      <a:pt x="775433" y="419100"/>
                    </a:lnTo>
                    <a:lnTo>
                      <a:pt x="776112" y="368300"/>
                    </a:lnTo>
                    <a:lnTo>
                      <a:pt x="776380" y="317500"/>
                    </a:lnTo>
                    <a:close/>
                  </a:path>
                  <a:path w="951865" h="1536700">
                    <a:moveTo>
                      <a:pt x="642718" y="215900"/>
                    </a:moveTo>
                    <a:lnTo>
                      <a:pt x="590457" y="215900"/>
                    </a:lnTo>
                    <a:lnTo>
                      <a:pt x="581072" y="254000"/>
                    </a:lnTo>
                    <a:lnTo>
                      <a:pt x="561571" y="266700"/>
                    </a:lnTo>
                    <a:lnTo>
                      <a:pt x="534479" y="279400"/>
                    </a:lnTo>
                    <a:lnTo>
                      <a:pt x="502319" y="292100"/>
                    </a:lnTo>
                    <a:lnTo>
                      <a:pt x="776197" y="292100"/>
                    </a:lnTo>
                    <a:lnTo>
                      <a:pt x="776105" y="279400"/>
                    </a:lnTo>
                    <a:lnTo>
                      <a:pt x="685469" y="279400"/>
                    </a:lnTo>
                    <a:lnTo>
                      <a:pt x="665251" y="266700"/>
                    </a:lnTo>
                    <a:lnTo>
                      <a:pt x="651533" y="241300"/>
                    </a:lnTo>
                    <a:lnTo>
                      <a:pt x="642718" y="215900"/>
                    </a:lnTo>
                    <a:close/>
                  </a:path>
                  <a:path w="951865" h="1536700">
                    <a:moveTo>
                      <a:pt x="641943" y="63500"/>
                    </a:moveTo>
                    <a:lnTo>
                      <a:pt x="561677" y="63500"/>
                    </a:lnTo>
                    <a:lnTo>
                      <a:pt x="579422" y="76200"/>
                    </a:lnTo>
                    <a:lnTo>
                      <a:pt x="589026" y="88900"/>
                    </a:lnTo>
                    <a:lnTo>
                      <a:pt x="593937" y="114300"/>
                    </a:lnTo>
                    <a:lnTo>
                      <a:pt x="594610" y="127000"/>
                    </a:lnTo>
                    <a:lnTo>
                      <a:pt x="595524" y="127000"/>
                    </a:lnTo>
                    <a:lnTo>
                      <a:pt x="596274" y="139700"/>
                    </a:lnTo>
                    <a:lnTo>
                      <a:pt x="655209" y="139700"/>
                    </a:lnTo>
                    <a:lnTo>
                      <a:pt x="692831" y="152400"/>
                    </a:lnTo>
                    <a:lnTo>
                      <a:pt x="712738" y="177800"/>
                    </a:lnTo>
                    <a:lnTo>
                      <a:pt x="718524" y="228600"/>
                    </a:lnTo>
                    <a:lnTo>
                      <a:pt x="713787" y="279400"/>
                    </a:lnTo>
                    <a:lnTo>
                      <a:pt x="776105" y="279400"/>
                    </a:lnTo>
                    <a:lnTo>
                      <a:pt x="774785" y="215900"/>
                    </a:lnTo>
                    <a:lnTo>
                      <a:pt x="767687" y="165100"/>
                    </a:lnTo>
                    <a:lnTo>
                      <a:pt x="718196" y="101600"/>
                    </a:lnTo>
                    <a:lnTo>
                      <a:pt x="673350" y="88900"/>
                    </a:lnTo>
                    <a:lnTo>
                      <a:pt x="664024" y="88900"/>
                    </a:lnTo>
                    <a:lnTo>
                      <a:pt x="654970" y="76200"/>
                    </a:lnTo>
                    <a:lnTo>
                      <a:pt x="647254" y="76200"/>
                    </a:lnTo>
                    <a:lnTo>
                      <a:pt x="641943" y="63500"/>
                    </a:lnTo>
                    <a:close/>
                  </a:path>
                  <a:path w="951865" h="1536700">
                    <a:moveTo>
                      <a:pt x="544039" y="0"/>
                    </a:moveTo>
                    <a:lnTo>
                      <a:pt x="506765" y="12700"/>
                    </a:lnTo>
                    <a:lnTo>
                      <a:pt x="574643" y="12700"/>
                    </a:lnTo>
                    <a:lnTo>
                      <a:pt x="5440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83" name="object 21">
                <a:extLst>
                  <a:ext uri="{FF2B5EF4-FFF2-40B4-BE49-F238E27FC236}">
                    <a16:creationId xmlns:a16="http://schemas.microsoft.com/office/drawing/2014/main" id="{675BBB1A-372F-493E-8D33-B84F88E9A5AD}"/>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84" name="object 22">
                <a:extLst>
                  <a:ext uri="{FF2B5EF4-FFF2-40B4-BE49-F238E27FC236}">
                    <a16:creationId xmlns:a16="http://schemas.microsoft.com/office/drawing/2014/main" id="{C7C546EB-3241-4502-8342-F21BBD647E11}"/>
                  </a:ext>
                </a:extLst>
              </p:cNvPr>
              <p:cNvSpPr/>
              <p:nvPr/>
            </p:nvSpPr>
            <p:spPr>
              <a:xfrm>
                <a:off x="9432652" y="2248955"/>
                <a:ext cx="162560" cy="77470"/>
              </a:xfrm>
              <a:custGeom>
                <a:avLst/>
                <a:gdLst/>
                <a:ahLst/>
                <a:cxnLst/>
                <a:rect l="l" t="t" r="r" b="b"/>
                <a:pathLst>
                  <a:path w="162559" h="77469">
                    <a:moveTo>
                      <a:pt x="162471" y="0"/>
                    </a:moveTo>
                    <a:lnTo>
                      <a:pt x="0" y="0"/>
                    </a:lnTo>
                    <a:lnTo>
                      <a:pt x="12007" y="34291"/>
                    </a:lnTo>
                    <a:lnTo>
                      <a:pt x="29825" y="58391"/>
                    </a:lnTo>
                    <a:lnTo>
                      <a:pt x="53349" y="72523"/>
                    </a:lnTo>
                    <a:lnTo>
                      <a:pt x="82473" y="76911"/>
                    </a:lnTo>
                    <a:lnTo>
                      <a:pt x="111911" y="71780"/>
                    </a:lnTo>
                    <a:lnTo>
                      <a:pt x="135226" y="57238"/>
                    </a:lnTo>
                    <a:lnTo>
                      <a:pt x="152164" y="33305"/>
                    </a:lnTo>
                    <a:lnTo>
                      <a:pt x="162471"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object 23">
                <a:extLst>
                  <a:ext uri="{FF2B5EF4-FFF2-40B4-BE49-F238E27FC236}">
                    <a16:creationId xmlns:a16="http://schemas.microsoft.com/office/drawing/2014/main" id="{ED9E130C-4898-474F-84D9-3A87DCBCCB44}"/>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1" name="object 9">
              <a:extLst>
                <a:ext uri="{FF2B5EF4-FFF2-40B4-BE49-F238E27FC236}">
                  <a16:creationId xmlns:a16="http://schemas.microsoft.com/office/drawing/2014/main" id="{4CE3DB56-EEDD-4251-8641-906600B86608}"/>
                </a:ext>
              </a:extLst>
            </p:cNvPr>
            <p:cNvSpPr/>
            <p:nvPr/>
          </p:nvSpPr>
          <p:spPr>
            <a:xfrm>
              <a:off x="8901170" y="6084617"/>
              <a:ext cx="207512" cy="49373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solidFill>
              <a:schemeClr val="bg1"/>
            </a:solid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6125931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22" presetClass="entr" presetSubtype="4"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down)">
                                      <p:cBhvr>
                                        <p:cTn id="22" dur="500"/>
                                        <p:tgtEl>
                                          <p:spTgt spid="4"/>
                                        </p:tgtEl>
                                      </p:cBhvr>
                                    </p:animEffec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51"/>
                                        </p:tgtEl>
                                        <p:attrNameLst>
                                          <p:attrName>style.visibility</p:attrName>
                                        </p:attrNameLst>
                                      </p:cBhvr>
                                      <p:to>
                                        <p:strVal val="visible"/>
                                      </p:to>
                                    </p:set>
                                    <p:animEffect transition="in" filter="fade">
                                      <p:cBhvr>
                                        <p:cTn id="26" dur="500"/>
                                        <p:tgtEl>
                                          <p:spTgt spid="5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fade">
                                      <p:cBhvr>
                                        <p:cTn id="29" dur="500"/>
                                        <p:tgtEl>
                                          <p:spTgt spid="5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500"/>
                                        <p:tgtEl>
                                          <p:spTgt spid="5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par>
                                <p:cTn id="36" presetID="22" presetClass="entr" presetSubtype="4" fill="hold" nodeType="with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down)">
                                      <p:cBhvr>
                                        <p:cTn id="38" dur="500"/>
                                        <p:tgtEl>
                                          <p:spTgt spid="47"/>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46"/>
                                        </p:tgtEl>
                                        <p:attrNameLst>
                                          <p:attrName>style.visibility</p:attrName>
                                        </p:attrNameLst>
                                      </p:cBhvr>
                                      <p:to>
                                        <p:strVal val="visible"/>
                                      </p:to>
                                    </p:set>
                                    <p:animEffect transition="in" filter="wipe(down)">
                                      <p:cBhvr>
                                        <p:cTn id="41"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P spid="11" grpId="0" animBg="1"/>
      <p:bldP spid="12" grpId="0" animBg="1"/>
      <p:bldP spid="46" grpId="0" animBg="1"/>
      <p:bldP spid="52" grpId="0" animBg="1"/>
      <p:bldP spid="53" grpId="0" animBg="1"/>
      <p:bldP spid="54" grpId="0" animBg="1"/>
    </p:bldLst>
  </p:timing>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F4698-6BCC-47DE-93B2-4F87FE40A1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1A4AFC-2B97-4470-AB04-18AA5B582D5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D7677B-1D3F-4513-8397-A482DB103E53}"/>
              </a:ext>
            </a:extLst>
          </p:cNvPr>
          <p:cNvSpPr>
            <a:spLocks noGrp="1"/>
          </p:cNvSpPr>
          <p:nvPr>
            <p:ph type="dt" sz="half" idx="10"/>
          </p:nvPr>
        </p:nvSpPr>
        <p:spPr/>
        <p:txBody>
          <a:bodyPr/>
          <a:lstStyle/>
          <a:p>
            <a:fld id="{5DD28FDC-DE10-4C4D-8858-98C4AE726B9F}" type="datetimeFigureOut">
              <a:rPr lang="en-US" smtClean="0"/>
              <a:t>3/15/22</a:t>
            </a:fld>
            <a:endParaRPr lang="en-US"/>
          </a:p>
        </p:txBody>
      </p:sp>
      <p:sp>
        <p:nvSpPr>
          <p:cNvPr id="5" name="Footer Placeholder 4">
            <a:extLst>
              <a:ext uri="{FF2B5EF4-FFF2-40B4-BE49-F238E27FC236}">
                <a16:creationId xmlns:a16="http://schemas.microsoft.com/office/drawing/2014/main" id="{3920E1D7-5B8A-4EB4-AFAB-94B92B70E5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36E329-E161-4C5A-A941-4C997BDB59C8}"/>
              </a:ext>
            </a:extLst>
          </p:cNvPr>
          <p:cNvSpPr>
            <a:spLocks noGrp="1"/>
          </p:cNvSpPr>
          <p:nvPr>
            <p:ph type="sldNum" sz="quarter" idx="12"/>
          </p:nvPr>
        </p:nvSpPr>
        <p:spPr/>
        <p:txBody>
          <a:bodyPr/>
          <a:lstStyle/>
          <a:p>
            <a:fld id="{C9EE7441-1E07-441E-9FEF-ED472D3936FB}" type="slidenum">
              <a:rPr lang="en-US" smtClean="0"/>
              <a:t>‹#›</a:t>
            </a:fld>
            <a:endParaRPr lang="en-US"/>
          </a:p>
        </p:txBody>
      </p:sp>
    </p:spTree>
    <p:extLst>
      <p:ext uri="{BB962C8B-B14F-4D97-AF65-F5344CB8AC3E}">
        <p14:creationId xmlns:p14="http://schemas.microsoft.com/office/powerpoint/2010/main" val="11552074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C402D7-C880-4E53-8DA0-EDA4DB2F101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EF8883B9-E80E-499C-90AE-76E4031C6FE0}"/>
              </a:ext>
            </a:extLst>
          </p:cNvPr>
          <p:cNvSpPr/>
          <p:nvPr userDrawn="1"/>
        </p:nvSpPr>
        <p:spPr bwMode="auto">
          <a:xfrm>
            <a:off x="0" y="0"/>
            <a:ext cx="5334000" cy="68580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1639659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2D96457C-1416-400D-9400-BB41A4DB324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4707631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_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Graphic 5" descr="An illustrated graphic showing a globe and a diverse set of people">
            <a:extLst>
              <a:ext uri="{FF2B5EF4-FFF2-40B4-BE49-F238E27FC236}">
                <a16:creationId xmlns:a16="http://schemas.microsoft.com/office/drawing/2014/main" id="{EB7A8DFB-D187-4723-8C8A-259D057A7DE1}"/>
              </a:ext>
              <a:ext uri="{C183D7F6-B498-43B3-948B-1728B52AA6E4}">
                <adec:decorative xmlns:adec="http://schemas.microsoft.com/office/drawing/2017/decorative" val="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5691" y="0"/>
            <a:ext cx="5414818" cy="6895896"/>
          </a:xfrm>
          <a:prstGeom prst="rect">
            <a:avLst/>
          </a:prstGeom>
        </p:spPr>
      </p:pic>
    </p:spTree>
    <p:extLst>
      <p:ext uri="{BB962C8B-B14F-4D97-AF65-F5344CB8AC3E}">
        <p14:creationId xmlns:p14="http://schemas.microsoft.com/office/powerpoint/2010/main" val="16317555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10351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207847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9975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81427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1545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8466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43757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72F57D39-7855-41B0-BF0E-ED9498512A3A}"/>
              </a:ext>
            </a:extLst>
          </p:cNvPr>
          <p:cNvSpPr txBox="1"/>
          <p:nvPr userDrawn="1"/>
        </p:nvSpPr>
        <p:spPr>
          <a:xfrm>
            <a:off x="588262" y="2425700"/>
            <a:ext cx="5394960" cy="3904781"/>
          </a:xfrm>
          <a:prstGeom prst="rect">
            <a:avLst/>
          </a:prstGeom>
          <a:solidFill>
            <a:schemeClr val="bg1">
              <a:lumMod val="95000"/>
            </a:schemeClr>
          </a:solidFill>
          <a:effectLst/>
        </p:spPr>
        <p:txBody>
          <a:bodyPr wrap="square" lIns="137160" tIns="91440" rIns="137160" bIns="91440">
            <a:noAutofit/>
          </a:bodyPr>
          <a:lstStyle/>
          <a:p>
            <a:pPr marL="0" indent="0">
              <a:buFont typeface="Wingdings" panose="05000000000000000000" pitchFamily="2" charset="2"/>
              <a:buNone/>
            </a:pPr>
            <a:endParaRPr lang="en-US" sz="1800">
              <a:latin typeface="+mj-lt"/>
              <a:ea typeface="Calibri" panose="020F0502020204030204" pitchFamily="34" charset="0"/>
              <a:cs typeface="Times New Roman" panose="02020603050405020304" pitchFamily="18" charset="0"/>
            </a:endParaRPr>
          </a:p>
        </p:txBody>
      </p:sp>
      <p:sp>
        <p:nvSpPr>
          <p:cNvPr id="4" name="TextBox 3">
            <a:extLst>
              <a:ext uri="{FF2B5EF4-FFF2-40B4-BE49-F238E27FC236}">
                <a16:creationId xmlns:a16="http://schemas.microsoft.com/office/drawing/2014/main" id="{78B7876D-6F3E-4838-BDDE-428A8E4FED00}"/>
              </a:ext>
            </a:extLst>
          </p:cNvPr>
          <p:cNvSpPr txBox="1"/>
          <p:nvPr userDrawn="1"/>
        </p:nvSpPr>
        <p:spPr>
          <a:xfrm>
            <a:off x="6211823" y="2425700"/>
            <a:ext cx="5394960" cy="3904781"/>
          </a:xfrm>
          <a:prstGeom prst="rect">
            <a:avLst/>
          </a:prstGeom>
          <a:solidFill>
            <a:schemeClr val="bg1">
              <a:lumMod val="95000"/>
            </a:schemeClr>
          </a:solidFill>
          <a:effectLst/>
        </p:spPr>
        <p:txBody>
          <a:bodyPr wrap="square" lIns="137160" tIns="91440" rIns="137160" bIns="91440">
            <a:noAutofit/>
          </a:bodyPr>
          <a:lstStyle/>
          <a:p>
            <a:pPr marL="0" indent="0">
              <a:buFont typeface="Wingdings" panose="05000000000000000000" pitchFamily="2" charset="2"/>
              <a:buNone/>
            </a:pPr>
            <a:endParaRPr lang="en-US" sz="1800">
              <a:latin typeface="+mj-lt"/>
              <a:ea typeface="Calibri" panose="020F0502020204030204" pitchFamily="34" charset="0"/>
              <a:cs typeface="Times New Roman" panose="02020603050405020304" pitchFamily="18" charset="0"/>
            </a:endParaRP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48E8217A-6FFB-48BF-B15E-3F38D91CCA98}"/>
              </a:ext>
            </a:extLst>
          </p:cNvPr>
          <p:cNvSpPr>
            <a:spLocks noGrp="1"/>
          </p:cNvSpPr>
          <p:nvPr>
            <p:ph type="pic" sz="quarter" idx="11" hasCustomPrompt="1"/>
          </p:nvPr>
        </p:nvSpPr>
        <p:spPr bwMode="gray">
          <a:xfrm>
            <a:off x="727143" y="3149600"/>
            <a:ext cx="5117199" cy="3060700"/>
          </a:xfrm>
          <a:custGeom>
            <a:avLst/>
            <a:gdLst>
              <a:gd name="connsiteX0" fmla="*/ 0 w 5117199"/>
              <a:gd name="connsiteY0" fmla="*/ 0 h 2973615"/>
              <a:gd name="connsiteX1" fmla="*/ 5117199 w 5117199"/>
              <a:gd name="connsiteY1" fmla="*/ 0 h 2973615"/>
              <a:gd name="connsiteX2" fmla="*/ 5117199 w 5117199"/>
              <a:gd name="connsiteY2" fmla="*/ 2973615 h 2973615"/>
              <a:gd name="connsiteX3" fmla="*/ 0 w 5117199"/>
              <a:gd name="connsiteY3" fmla="*/ 2973615 h 2973615"/>
            </a:gdLst>
            <a:ahLst/>
            <a:cxnLst>
              <a:cxn ang="0">
                <a:pos x="connsiteX0" y="connsiteY0"/>
              </a:cxn>
              <a:cxn ang="0">
                <a:pos x="connsiteX1" y="connsiteY1"/>
              </a:cxn>
              <a:cxn ang="0">
                <a:pos x="connsiteX2" y="connsiteY2"/>
              </a:cxn>
              <a:cxn ang="0">
                <a:pos x="connsiteX3" y="connsiteY3"/>
              </a:cxn>
            </a:cxnLst>
            <a:rect l="l" t="t" r="r" b="b"/>
            <a:pathLst>
              <a:path w="5117199" h="2973615">
                <a:moveTo>
                  <a:pt x="0" y="0"/>
                </a:moveTo>
                <a:lnTo>
                  <a:pt x="5117199" y="0"/>
                </a:lnTo>
                <a:lnTo>
                  <a:pt x="5117199" y="2973615"/>
                </a:lnTo>
                <a:lnTo>
                  <a:pt x="0" y="2973615"/>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Insert images from email]</a:t>
            </a:r>
          </a:p>
        </p:txBody>
      </p:sp>
      <p:sp>
        <p:nvSpPr>
          <p:cNvPr id="8" name="Text Placeholder 3">
            <a:extLst>
              <a:ext uri="{FF2B5EF4-FFF2-40B4-BE49-F238E27FC236}">
                <a16:creationId xmlns:a16="http://schemas.microsoft.com/office/drawing/2014/main" id="{A04A6FC0-9706-457E-B39E-B0F52FA68601}"/>
              </a:ext>
            </a:extLst>
          </p:cNvPr>
          <p:cNvSpPr>
            <a:spLocks noGrp="1"/>
          </p:cNvSpPr>
          <p:nvPr>
            <p:ph type="body" sz="quarter" idx="10"/>
          </p:nvPr>
        </p:nvSpPr>
        <p:spPr>
          <a:xfrm>
            <a:off x="588262" y="2425700"/>
            <a:ext cx="5394960" cy="461665"/>
          </a:xfrm>
        </p:spPr>
        <p:txBody>
          <a:bodyPr wrap="square" lIns="137160" tIns="91440" rIns="137160" bIns="91440">
            <a:spAutoFit/>
          </a:bodyPr>
          <a:lstStyle>
            <a:lvl1pPr marL="0" indent="0">
              <a:spcBef>
                <a:spcPts val="1224"/>
              </a:spcBef>
              <a:buClr>
                <a:schemeClr val="tx1"/>
              </a:buClr>
              <a:buFont typeface="Wingdings" panose="05000000000000000000" pitchFamily="2" charset="2"/>
              <a:buNone/>
              <a:defRPr sz="1800" b="0">
                <a:solidFill>
                  <a:schemeClr val="accent1"/>
                </a:solidFill>
                <a:latin typeface="+mj-lt"/>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p:txBody>
      </p:sp>
      <p:sp>
        <p:nvSpPr>
          <p:cNvPr id="9" name="Text Placeholder 3">
            <a:extLst>
              <a:ext uri="{FF2B5EF4-FFF2-40B4-BE49-F238E27FC236}">
                <a16:creationId xmlns:a16="http://schemas.microsoft.com/office/drawing/2014/main" id="{7A207BDF-3919-43C1-ACC7-AF999C1F08CC}"/>
              </a:ext>
            </a:extLst>
          </p:cNvPr>
          <p:cNvSpPr>
            <a:spLocks noGrp="1"/>
          </p:cNvSpPr>
          <p:nvPr>
            <p:ph type="body" sz="quarter" idx="12"/>
          </p:nvPr>
        </p:nvSpPr>
        <p:spPr>
          <a:xfrm>
            <a:off x="6211823" y="2425700"/>
            <a:ext cx="5394960" cy="461665"/>
          </a:xfrm>
        </p:spPr>
        <p:txBody>
          <a:bodyPr wrap="square" lIns="137160" tIns="91440" rIns="137160" bIns="91440">
            <a:spAutoFit/>
          </a:bodyPr>
          <a:lstStyle>
            <a:lvl1pPr marL="0" indent="0">
              <a:spcBef>
                <a:spcPts val="1224"/>
              </a:spcBef>
              <a:buClr>
                <a:schemeClr val="tx1"/>
              </a:buClr>
              <a:buFont typeface="Wingdings" panose="05000000000000000000" pitchFamily="2" charset="2"/>
              <a:buNone/>
              <a:defRPr sz="1800" b="0">
                <a:solidFill>
                  <a:schemeClr val="accent1"/>
                </a:solidFill>
                <a:latin typeface="+mj-lt"/>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A0A292CB-DC74-4637-99BC-69972EFE38EE}"/>
              </a:ext>
            </a:extLst>
          </p:cNvPr>
          <p:cNvSpPr>
            <a:spLocks noGrp="1"/>
          </p:cNvSpPr>
          <p:nvPr>
            <p:ph type="pic" sz="quarter" idx="13" hasCustomPrompt="1"/>
          </p:nvPr>
        </p:nvSpPr>
        <p:spPr bwMode="gray">
          <a:xfrm>
            <a:off x="6350704" y="3149600"/>
            <a:ext cx="5117199" cy="3060700"/>
          </a:xfrm>
          <a:custGeom>
            <a:avLst/>
            <a:gdLst>
              <a:gd name="connsiteX0" fmla="*/ 0 w 5117199"/>
              <a:gd name="connsiteY0" fmla="*/ 0 h 2973615"/>
              <a:gd name="connsiteX1" fmla="*/ 5117199 w 5117199"/>
              <a:gd name="connsiteY1" fmla="*/ 0 h 2973615"/>
              <a:gd name="connsiteX2" fmla="*/ 5117199 w 5117199"/>
              <a:gd name="connsiteY2" fmla="*/ 2973615 h 2973615"/>
              <a:gd name="connsiteX3" fmla="*/ 0 w 5117199"/>
              <a:gd name="connsiteY3" fmla="*/ 2973615 h 2973615"/>
            </a:gdLst>
            <a:ahLst/>
            <a:cxnLst>
              <a:cxn ang="0">
                <a:pos x="connsiteX0" y="connsiteY0"/>
              </a:cxn>
              <a:cxn ang="0">
                <a:pos x="connsiteX1" y="connsiteY1"/>
              </a:cxn>
              <a:cxn ang="0">
                <a:pos x="connsiteX2" y="connsiteY2"/>
              </a:cxn>
              <a:cxn ang="0">
                <a:pos x="connsiteX3" y="connsiteY3"/>
              </a:cxn>
            </a:cxnLst>
            <a:rect l="l" t="t" r="r" b="b"/>
            <a:pathLst>
              <a:path w="5117199" h="2973615">
                <a:moveTo>
                  <a:pt x="0" y="0"/>
                </a:moveTo>
                <a:lnTo>
                  <a:pt x="5117199" y="0"/>
                </a:lnTo>
                <a:lnTo>
                  <a:pt x="5117199" y="2973615"/>
                </a:lnTo>
                <a:lnTo>
                  <a:pt x="0" y="2973615"/>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Insert images from email]</a:t>
            </a:r>
          </a:p>
        </p:txBody>
      </p:sp>
      <p:sp>
        <p:nvSpPr>
          <p:cNvPr id="11" name="Content Placeholder 2">
            <a:extLst>
              <a:ext uri="{FF2B5EF4-FFF2-40B4-BE49-F238E27FC236}">
                <a16:creationId xmlns:a16="http://schemas.microsoft.com/office/drawing/2014/main" id="{32EF0B6D-FA46-4F5B-A0D9-A459468DBA8E}"/>
              </a:ext>
            </a:extLst>
          </p:cNvPr>
          <p:cNvSpPr txBox="1">
            <a:spLocks/>
          </p:cNvSpPr>
          <p:nvPr userDrawn="1"/>
        </p:nvSpPr>
        <p:spPr>
          <a:xfrm>
            <a:off x="0" y="1275443"/>
            <a:ext cx="12192000" cy="1005840"/>
          </a:xfrm>
          <a:prstGeom prst="rect">
            <a:avLst/>
          </a:prstGeom>
          <a:solidFill>
            <a:schemeClr val="tx2"/>
          </a:solidFill>
        </p:spPr>
        <p:txBody>
          <a:bodyPr tIns="91440" bIns="91440" anchor="ctr">
            <a:no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1800" i="1" spc="0" baseline="0">
                <a:solidFill>
                  <a:schemeClr val="bg1"/>
                </a:solidFill>
                <a:latin typeface="+mj-lt"/>
                <a:ea typeface="Calibri" panose="020F0502020204030204" pitchFamily="34" charset="0"/>
                <a:cs typeface="Times New Roman" panose="02020603050405020304" pitchFamily="18"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lvl="0"/>
            <a:endParaRPr lang="en-US"/>
          </a:p>
        </p:txBody>
      </p:sp>
    </p:spTree>
    <p:extLst>
      <p:ext uri="{BB962C8B-B14F-4D97-AF65-F5344CB8AC3E}">
        <p14:creationId xmlns:p14="http://schemas.microsoft.com/office/powerpoint/2010/main" val="1681185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78B7876D-6F3E-4838-BDDE-428A8E4FED00}"/>
              </a:ext>
            </a:extLst>
          </p:cNvPr>
          <p:cNvSpPr txBox="1"/>
          <p:nvPr userDrawn="1"/>
        </p:nvSpPr>
        <p:spPr>
          <a:xfrm>
            <a:off x="4546612" y="1275444"/>
            <a:ext cx="7060171" cy="5055038"/>
          </a:xfrm>
          <a:prstGeom prst="rect">
            <a:avLst/>
          </a:prstGeom>
          <a:solidFill>
            <a:schemeClr val="bg1">
              <a:lumMod val="95000"/>
            </a:schemeClr>
          </a:solidFill>
          <a:effectLst/>
        </p:spPr>
        <p:txBody>
          <a:bodyPr wrap="square" lIns="137160" tIns="91440" rIns="137160" bIns="91440">
            <a:noAutofit/>
          </a:bodyPr>
          <a:lstStyle/>
          <a:p>
            <a:pPr marL="0" indent="0">
              <a:buFont typeface="Wingdings" panose="05000000000000000000" pitchFamily="2" charset="2"/>
              <a:buNone/>
            </a:pPr>
            <a:endParaRPr lang="en-US" sz="1800">
              <a:latin typeface="+mj-lt"/>
              <a:ea typeface="Calibri" panose="020F0502020204030204" pitchFamily="34" charset="0"/>
              <a:cs typeface="Times New Roman" panose="02020603050405020304" pitchFamily="18" charset="0"/>
            </a:endParaRPr>
          </a:p>
        </p:txBody>
      </p:sp>
      <p:sp>
        <p:nvSpPr>
          <p:cNvPr id="9" name="Text Placeholder 3">
            <a:extLst>
              <a:ext uri="{FF2B5EF4-FFF2-40B4-BE49-F238E27FC236}">
                <a16:creationId xmlns:a16="http://schemas.microsoft.com/office/drawing/2014/main" id="{7A207BDF-3919-43C1-ACC7-AF999C1F08CC}"/>
              </a:ext>
            </a:extLst>
          </p:cNvPr>
          <p:cNvSpPr>
            <a:spLocks noGrp="1"/>
          </p:cNvSpPr>
          <p:nvPr>
            <p:ph type="body" sz="quarter" idx="12"/>
          </p:nvPr>
        </p:nvSpPr>
        <p:spPr>
          <a:xfrm>
            <a:off x="4546612" y="1275444"/>
            <a:ext cx="7060171" cy="461665"/>
          </a:xfrm>
        </p:spPr>
        <p:txBody>
          <a:bodyPr wrap="square" lIns="137160" tIns="91440" rIns="137160" bIns="91440">
            <a:spAutoFit/>
          </a:bodyPr>
          <a:lstStyle>
            <a:lvl1pPr marL="0" indent="0">
              <a:spcBef>
                <a:spcPts val="1224"/>
              </a:spcBef>
              <a:buClr>
                <a:schemeClr val="tx1"/>
              </a:buClr>
              <a:buFont typeface="Wingdings" panose="05000000000000000000" pitchFamily="2" charset="2"/>
              <a:buNone/>
              <a:defRPr sz="1800" b="0">
                <a:solidFill>
                  <a:schemeClr val="accent1"/>
                </a:solidFill>
                <a:latin typeface="+mj-lt"/>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A08B708E-75B7-4CB5-AD49-2CE9C9CD4D2A}"/>
              </a:ext>
            </a:extLst>
          </p:cNvPr>
          <p:cNvSpPr>
            <a:spLocks noGrp="1"/>
          </p:cNvSpPr>
          <p:nvPr>
            <p:ph type="pic" sz="quarter" idx="11" hasCustomPrompt="1"/>
          </p:nvPr>
        </p:nvSpPr>
        <p:spPr bwMode="gray">
          <a:xfrm>
            <a:off x="4546612" y="2082800"/>
            <a:ext cx="6869974" cy="4160250"/>
          </a:xfrm>
          <a:custGeom>
            <a:avLst/>
            <a:gdLst>
              <a:gd name="connsiteX0" fmla="*/ 0 w 6869974"/>
              <a:gd name="connsiteY0" fmla="*/ 0 h 4160250"/>
              <a:gd name="connsiteX1" fmla="*/ 6869974 w 6869974"/>
              <a:gd name="connsiteY1" fmla="*/ 0 h 4160250"/>
              <a:gd name="connsiteX2" fmla="*/ 6869974 w 6869974"/>
              <a:gd name="connsiteY2" fmla="*/ 4160250 h 4160250"/>
              <a:gd name="connsiteX3" fmla="*/ 0 w 6869974"/>
              <a:gd name="connsiteY3" fmla="*/ 4160250 h 4160250"/>
            </a:gdLst>
            <a:ahLst/>
            <a:cxnLst>
              <a:cxn ang="0">
                <a:pos x="connsiteX0" y="connsiteY0"/>
              </a:cxn>
              <a:cxn ang="0">
                <a:pos x="connsiteX1" y="connsiteY1"/>
              </a:cxn>
              <a:cxn ang="0">
                <a:pos x="connsiteX2" y="connsiteY2"/>
              </a:cxn>
              <a:cxn ang="0">
                <a:pos x="connsiteX3" y="connsiteY3"/>
              </a:cxn>
            </a:cxnLst>
            <a:rect l="l" t="t" r="r" b="b"/>
            <a:pathLst>
              <a:path w="6869974" h="4160250">
                <a:moveTo>
                  <a:pt x="0" y="0"/>
                </a:moveTo>
                <a:lnTo>
                  <a:pt x="6869974" y="0"/>
                </a:lnTo>
                <a:lnTo>
                  <a:pt x="6869974" y="4160250"/>
                </a:lnTo>
                <a:lnTo>
                  <a:pt x="0" y="4160250"/>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Insert image sequence from email]</a:t>
            </a:r>
          </a:p>
        </p:txBody>
      </p:sp>
    </p:spTree>
    <p:extLst>
      <p:ext uri="{BB962C8B-B14F-4D97-AF65-F5344CB8AC3E}">
        <p14:creationId xmlns:p14="http://schemas.microsoft.com/office/powerpoint/2010/main" val="15357004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72F57D39-7855-41B0-BF0E-ED9498512A3A}"/>
              </a:ext>
            </a:extLst>
          </p:cNvPr>
          <p:cNvSpPr txBox="1"/>
          <p:nvPr userDrawn="1"/>
        </p:nvSpPr>
        <p:spPr>
          <a:xfrm>
            <a:off x="588262" y="2425700"/>
            <a:ext cx="11015476" cy="3904781"/>
          </a:xfrm>
          <a:prstGeom prst="rect">
            <a:avLst/>
          </a:prstGeom>
          <a:solidFill>
            <a:schemeClr val="bg1">
              <a:lumMod val="95000"/>
            </a:schemeClr>
          </a:solidFill>
          <a:effectLst/>
        </p:spPr>
        <p:txBody>
          <a:bodyPr wrap="square" lIns="137160" tIns="91440" rIns="137160" bIns="91440">
            <a:noAutofit/>
          </a:bodyPr>
          <a:lstStyle/>
          <a:p>
            <a:pPr marL="0" indent="0">
              <a:buFont typeface="Wingdings" panose="05000000000000000000" pitchFamily="2" charset="2"/>
              <a:buNone/>
            </a:pPr>
            <a:endParaRPr lang="en-US" sz="1800">
              <a:latin typeface="+mj-lt"/>
              <a:ea typeface="Calibri" panose="020F0502020204030204" pitchFamily="34" charset="0"/>
              <a:cs typeface="Times New Roman" panose="02020603050405020304" pitchFamily="18" charset="0"/>
            </a:endParaRP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48E8217A-6FFB-48BF-B15E-3F38D91CCA98}"/>
              </a:ext>
            </a:extLst>
          </p:cNvPr>
          <p:cNvSpPr>
            <a:spLocks noGrp="1"/>
          </p:cNvSpPr>
          <p:nvPr>
            <p:ph type="pic" sz="quarter" idx="11" hasCustomPrompt="1"/>
          </p:nvPr>
        </p:nvSpPr>
        <p:spPr bwMode="gray">
          <a:xfrm>
            <a:off x="725620" y="2545704"/>
            <a:ext cx="10740760" cy="3664772"/>
          </a:xfrm>
          <a:custGeom>
            <a:avLst/>
            <a:gdLst>
              <a:gd name="connsiteX0" fmla="*/ 0 w 5117199"/>
              <a:gd name="connsiteY0" fmla="*/ 0 h 2973615"/>
              <a:gd name="connsiteX1" fmla="*/ 5117199 w 5117199"/>
              <a:gd name="connsiteY1" fmla="*/ 0 h 2973615"/>
              <a:gd name="connsiteX2" fmla="*/ 5117199 w 5117199"/>
              <a:gd name="connsiteY2" fmla="*/ 2973615 h 2973615"/>
              <a:gd name="connsiteX3" fmla="*/ 0 w 5117199"/>
              <a:gd name="connsiteY3" fmla="*/ 2973615 h 2973615"/>
            </a:gdLst>
            <a:ahLst/>
            <a:cxnLst>
              <a:cxn ang="0">
                <a:pos x="connsiteX0" y="connsiteY0"/>
              </a:cxn>
              <a:cxn ang="0">
                <a:pos x="connsiteX1" y="connsiteY1"/>
              </a:cxn>
              <a:cxn ang="0">
                <a:pos x="connsiteX2" y="connsiteY2"/>
              </a:cxn>
              <a:cxn ang="0">
                <a:pos x="connsiteX3" y="connsiteY3"/>
              </a:cxn>
            </a:cxnLst>
            <a:rect l="l" t="t" r="r" b="b"/>
            <a:pathLst>
              <a:path w="5117199" h="2973615">
                <a:moveTo>
                  <a:pt x="0" y="0"/>
                </a:moveTo>
                <a:lnTo>
                  <a:pt x="5117199" y="0"/>
                </a:lnTo>
                <a:lnTo>
                  <a:pt x="5117199" y="2973615"/>
                </a:lnTo>
                <a:lnTo>
                  <a:pt x="0" y="2973615"/>
                </a:lnTo>
                <a:close/>
              </a:path>
            </a:pathLst>
          </a:custGeom>
          <a:blipFill>
            <a:blip r:embed="rId2"/>
            <a:stretch>
              <a:fillRect/>
            </a:stretch>
          </a:blipFill>
        </p:spPr>
        <p:txBody>
          <a:bodyPr wrap="square"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Insert image sequence from email]</a:t>
            </a:r>
          </a:p>
        </p:txBody>
      </p:sp>
      <p:sp>
        <p:nvSpPr>
          <p:cNvPr id="11" name="Content Placeholder 2">
            <a:extLst>
              <a:ext uri="{FF2B5EF4-FFF2-40B4-BE49-F238E27FC236}">
                <a16:creationId xmlns:a16="http://schemas.microsoft.com/office/drawing/2014/main" id="{32EF0B6D-FA46-4F5B-A0D9-A459468DBA8E}"/>
              </a:ext>
            </a:extLst>
          </p:cNvPr>
          <p:cNvSpPr txBox="1">
            <a:spLocks/>
          </p:cNvSpPr>
          <p:nvPr userDrawn="1"/>
        </p:nvSpPr>
        <p:spPr>
          <a:xfrm>
            <a:off x="0" y="1275443"/>
            <a:ext cx="12192000" cy="1005840"/>
          </a:xfrm>
          <a:prstGeom prst="rect">
            <a:avLst/>
          </a:prstGeom>
          <a:solidFill>
            <a:schemeClr val="tx2"/>
          </a:solidFill>
        </p:spPr>
        <p:txBody>
          <a:bodyPr tIns="91440" bIns="91440" anchor="ctr">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endParaRPr lang="en-US" sz="1800" i="1">
              <a:solidFill>
                <a:schemeClr val="bg1"/>
              </a:solidFill>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755413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3" name="Picture 2" descr="A group of people sitting at a desk in front of a computer">
            <a:extLst>
              <a:ext uri="{FF2B5EF4-FFF2-40B4-BE49-F238E27FC236}">
                <a16:creationId xmlns:a16="http://schemas.microsoft.com/office/drawing/2014/main" id="{127C6E10-D234-49A1-8C4A-CC77EC94F85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718628" cy="6858000"/>
          </a:xfrm>
          <a:prstGeom prst="rect">
            <a:avLst/>
          </a:prstGeom>
        </p:spPr>
      </p:pic>
      <p:sp>
        <p:nvSpPr>
          <p:cNvPr id="4" name="Rectangle 3">
            <a:extLst>
              <a:ext uri="{FF2B5EF4-FFF2-40B4-BE49-F238E27FC236}">
                <a16:creationId xmlns:a16="http://schemas.microsoft.com/office/drawing/2014/main" id="{2E3D3B4D-64DC-43F4-BC7B-70508A4A44D2}"/>
              </a:ext>
              <a:ext uri="{C183D7F6-B498-43B3-948B-1728B52AA6E4}">
                <adec:decorative xmlns:adec="http://schemas.microsoft.com/office/drawing/2017/decorative" val="1"/>
              </a:ext>
            </a:extLst>
          </p:cNvPr>
          <p:cNvSpPr/>
          <p:nvPr userDrawn="1"/>
        </p:nvSpPr>
        <p:spPr bwMode="auto">
          <a:xfrm>
            <a:off x="0" y="0"/>
            <a:ext cx="5718628" cy="6858000"/>
          </a:xfrm>
          <a:prstGeom prst="rect">
            <a:avLst/>
          </a:prstGeom>
          <a:gradFill flip="none" rotWithShape="1">
            <a:gsLst>
              <a:gs pos="85000">
                <a:schemeClr val="bg1">
                  <a:alpha val="0"/>
                </a:schemeClr>
              </a:gs>
              <a:gs pos="94000">
                <a:schemeClr val="tx1">
                  <a:alpha val="2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5130365"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113728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379084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299524576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259452449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07197001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02204841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7490833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8872445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8059465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8293729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50253199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9321784"/>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347025243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42850787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18457811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3613069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905907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7548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userDrawn="1">
            <p:custDataLst>
              <p:tags r:id="rId2"/>
            </p:custDataLst>
            <p:extLst>
              <p:ext uri="{D42A27DB-BD31-4B8C-83A1-F6EECF244321}">
                <p14:modId xmlns:p14="http://schemas.microsoft.com/office/powerpoint/2010/main" val="3019626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103018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86591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32819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89223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625768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24536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6116071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3079397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meeting in a conference room.">
            <a:extLst>
              <a:ext uri="{FF2B5EF4-FFF2-40B4-BE49-F238E27FC236}">
                <a16:creationId xmlns:a16="http://schemas.microsoft.com/office/drawing/2014/main" id="{E4286AF1-448E-4DFE-9CAF-FD93F65F04BE}"/>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786228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D2BBF83B-AB94-4635-A784-5E8484DEC774}"/>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85A24E5A-A589-444B-A12E-6729B21E6E45}"/>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172542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00372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EB02FAD1-E14D-41F9-A1BC-FCCF4626291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3233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943656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Arrow: Pentagon 4">
            <a:extLst>
              <a:ext uri="{FF2B5EF4-FFF2-40B4-BE49-F238E27FC236}">
                <a16:creationId xmlns:a16="http://schemas.microsoft.com/office/drawing/2014/main" id="{75003CA0-103D-495A-82A6-F96C144900B5}"/>
              </a:ext>
              <a:ext uri="{C183D7F6-B498-43B3-948B-1728B52AA6E4}">
                <adec:decorative xmlns:adec="http://schemas.microsoft.com/office/drawing/2017/decorative" val="1"/>
              </a:ext>
            </a:extLst>
          </p:cNvPr>
          <p:cNvSpPr/>
          <p:nvPr userDrawn="1"/>
        </p:nvSpPr>
        <p:spPr bwMode="auto">
          <a:xfrm>
            <a:off x="0" y="2930124"/>
            <a:ext cx="8682791" cy="896792"/>
          </a:xfrm>
          <a:prstGeom prst="homePlate">
            <a:avLst>
              <a:gd name="adj" fmla="val 26061"/>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20925116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299454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44839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81050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64874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4" name="Picture 3" descr="Screen capture from teams meeting showing CART captioning">
            <a:extLst>
              <a:ext uri="{FF2B5EF4-FFF2-40B4-BE49-F238E27FC236}">
                <a16:creationId xmlns:a16="http://schemas.microsoft.com/office/drawing/2014/main" id="{743C8604-C60E-49A2-AE1D-B1C111AFB421}"/>
              </a:ext>
            </a:extLst>
          </p:cNvPr>
          <p:cNvPicPr>
            <a:picLocks noChangeAspect="1"/>
          </p:cNvPicPr>
          <p:nvPr userDrawn="1"/>
        </p:nvPicPr>
        <p:blipFill>
          <a:blip r:embed="rId2"/>
          <a:stretch>
            <a:fillRect/>
          </a:stretch>
        </p:blipFill>
        <p:spPr>
          <a:xfrm>
            <a:off x="0" y="0"/>
            <a:ext cx="12116059" cy="6858000"/>
          </a:xfrm>
          <a:prstGeom prst="rect">
            <a:avLst/>
          </a:prstGeom>
        </p:spPr>
      </p:pic>
    </p:spTree>
    <p:extLst>
      <p:ext uri="{BB962C8B-B14F-4D97-AF65-F5344CB8AC3E}">
        <p14:creationId xmlns:p14="http://schemas.microsoft.com/office/powerpoint/2010/main" val="34710704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descr="Woman working on a monitor using AI">
            <a:extLst>
              <a:ext uri="{FF2B5EF4-FFF2-40B4-BE49-F238E27FC236}">
                <a16:creationId xmlns:a16="http://schemas.microsoft.com/office/drawing/2014/main" id="{E58EC34B-8953-4103-AA4D-C12126D91BA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6"/>
          <a:stretch/>
        </p:blipFill>
        <p:spPr>
          <a:xfrm>
            <a:off x="0" y="0"/>
            <a:ext cx="12192000" cy="6858000"/>
          </a:xfrm>
          <a:prstGeom prst="rect">
            <a:avLst/>
          </a:prstGeom>
        </p:spPr>
      </p:pic>
    </p:spTree>
    <p:extLst>
      <p:ext uri="{BB962C8B-B14F-4D97-AF65-F5344CB8AC3E}">
        <p14:creationId xmlns:p14="http://schemas.microsoft.com/office/powerpoint/2010/main" val="36708759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164716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2A8B3ECF-E4A4-4BBE-8FC7-9B89BFA966A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336661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049319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213E2564-B248-4307-9647-3860A1D1F957}"/>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504121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381745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0080330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0834915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EE0325E-4E70-4338-BF4C-7AFCB34D09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61915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AACE723B-35DC-425C-8962-F4599190EE4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0115495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A39C78D3-0313-4B8D-88E0-883765889810}"/>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867973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B2F9ED1A-9FCE-462D-B16F-2A263C5EA46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417122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F8455F91-F643-4C10-B5F5-E0C9FA397E4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871583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865428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71441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47996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72999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3" name="Picture 2" descr="A group of people sitting at a desk in front of a computer">
            <a:extLst>
              <a:ext uri="{FF2B5EF4-FFF2-40B4-BE49-F238E27FC236}">
                <a16:creationId xmlns:a16="http://schemas.microsoft.com/office/drawing/2014/main" id="{127C6E10-D234-49A1-8C4A-CC77EC94F858}"/>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5718628" cy="6858000"/>
          </a:xfrm>
          <a:prstGeom prst="rect">
            <a:avLst/>
          </a:prstGeom>
        </p:spPr>
      </p:pic>
      <p:sp>
        <p:nvSpPr>
          <p:cNvPr id="4" name="Rectangle 3">
            <a:extLst>
              <a:ext uri="{FF2B5EF4-FFF2-40B4-BE49-F238E27FC236}">
                <a16:creationId xmlns:a16="http://schemas.microsoft.com/office/drawing/2014/main" id="{2E3D3B4D-64DC-43F4-BC7B-70508A4A44D2}"/>
              </a:ext>
              <a:ext uri="{C183D7F6-B498-43B3-948B-1728B52AA6E4}">
                <adec:decorative xmlns:adec="http://schemas.microsoft.com/office/drawing/2017/decorative" val="1"/>
              </a:ext>
            </a:extLst>
          </p:cNvPr>
          <p:cNvSpPr/>
          <p:nvPr userDrawn="1"/>
        </p:nvSpPr>
        <p:spPr bwMode="auto">
          <a:xfrm>
            <a:off x="0" y="0"/>
            <a:ext cx="5718628" cy="6858000"/>
          </a:xfrm>
          <a:prstGeom prst="rect">
            <a:avLst/>
          </a:prstGeom>
          <a:gradFill flip="none" rotWithShape="1">
            <a:gsLst>
              <a:gs pos="85000">
                <a:schemeClr val="bg1">
                  <a:alpha val="0"/>
                </a:schemeClr>
              </a:gs>
              <a:gs pos="94000">
                <a:schemeClr val="tx1">
                  <a:alpha val="23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5130365" cy="553998"/>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2698976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517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5886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7555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315761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Blank Acc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21915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solidFill>
                  <a:schemeClr val="tx1"/>
                </a:solidFill>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960334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48501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solidFill>
                  <a:schemeClr val="tx1"/>
                </a:solidFill>
                <a:latin typeface="+mn-lt"/>
              </a:defRPr>
            </a:lvl1pPr>
            <a:lvl2pPr>
              <a:defRPr sz="2800">
                <a:solidFill>
                  <a:schemeClr val="tx1"/>
                </a:solidFill>
                <a:latin typeface="+mn-lt"/>
              </a:defRPr>
            </a:lvl2pPr>
            <a:lvl3pPr>
              <a:defRPr sz="2400">
                <a:solidFill>
                  <a:schemeClr val="tx1"/>
                </a:solidFill>
                <a:latin typeface="+mn-lt"/>
              </a:defRPr>
            </a:lvl3pPr>
            <a:lvl4pPr>
              <a:defRPr sz="2000">
                <a:solidFill>
                  <a:schemeClr val="tx1"/>
                </a:solidFill>
                <a:latin typeface="+mn-lt"/>
              </a:defRPr>
            </a:lvl4pPr>
            <a:lvl5pPr>
              <a:defRPr sz="180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9671659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Tree>
    <p:extLst>
      <p:ext uri="{BB962C8B-B14F-4D97-AF65-F5344CB8AC3E}">
        <p14:creationId xmlns:p14="http://schemas.microsoft.com/office/powerpoint/2010/main" val="130885658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588476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Tree>
    <p:extLst>
      <p:ext uri="{BB962C8B-B14F-4D97-AF65-F5344CB8AC3E}">
        <p14:creationId xmlns:p14="http://schemas.microsoft.com/office/powerpoint/2010/main" val="332335955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215170057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291626771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Tree>
    <p:extLst>
      <p:ext uri="{BB962C8B-B14F-4D97-AF65-F5344CB8AC3E}">
        <p14:creationId xmlns:p14="http://schemas.microsoft.com/office/powerpoint/2010/main" val="3780856489"/>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21086697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61380531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Tree>
    <p:extLst>
      <p:ext uri="{BB962C8B-B14F-4D97-AF65-F5344CB8AC3E}">
        <p14:creationId xmlns:p14="http://schemas.microsoft.com/office/powerpoint/2010/main" val="120732710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633176217"/>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935070"/>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bg1"/>
                </a:solidFill>
              </a:defRPr>
            </a:lvl1pPr>
          </a:lstStyle>
          <a:p>
            <a:r>
              <a:rPr lang="en-US"/>
              <a:t>Title</a:t>
            </a:r>
          </a:p>
        </p:txBody>
      </p:sp>
    </p:spTree>
    <p:extLst>
      <p:ext uri="{BB962C8B-B14F-4D97-AF65-F5344CB8AC3E}">
        <p14:creationId xmlns:p14="http://schemas.microsoft.com/office/powerpoint/2010/main" val="90893270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9121006B-09FA-4F62-9542-4F6479B0897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Arrow: Pentagon 4">
            <a:extLst>
              <a:ext uri="{FF2B5EF4-FFF2-40B4-BE49-F238E27FC236}">
                <a16:creationId xmlns:a16="http://schemas.microsoft.com/office/drawing/2014/main" id="{75003CA0-103D-495A-82A6-F96C144900B5}"/>
              </a:ext>
              <a:ext uri="{C183D7F6-B498-43B3-948B-1728B52AA6E4}">
                <adec:decorative xmlns:adec="http://schemas.microsoft.com/office/drawing/2017/decorative" val="1"/>
              </a:ext>
            </a:extLst>
          </p:cNvPr>
          <p:cNvSpPr/>
          <p:nvPr userDrawn="1"/>
        </p:nvSpPr>
        <p:spPr bwMode="auto">
          <a:xfrm>
            <a:off x="0" y="2930124"/>
            <a:ext cx="8682791" cy="896792"/>
          </a:xfrm>
          <a:prstGeom prst="homePlate">
            <a:avLst>
              <a:gd name="adj" fmla="val 26061"/>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14010918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Tree>
    <p:extLst>
      <p:ext uri="{BB962C8B-B14F-4D97-AF65-F5344CB8AC3E}">
        <p14:creationId xmlns:p14="http://schemas.microsoft.com/office/powerpoint/2010/main" val="1028463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Tree>
    <p:extLst>
      <p:ext uri="{BB962C8B-B14F-4D97-AF65-F5344CB8AC3E}">
        <p14:creationId xmlns:p14="http://schemas.microsoft.com/office/powerpoint/2010/main" val="116502554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7DBA3A-69FE-46A8-926E-18B40F127D1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217DBA3A-69FE-46A8-926E-18B40F127D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328BB1-2DC0-4A07-91DF-E9F4FCB71C41}"/>
              </a:ext>
            </a:extLst>
          </p:cNvPr>
          <p:cNvSpPr/>
          <p:nvPr userDrawn="1">
            <p:custDataLst>
              <p:tags r:id="rId3"/>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600" b="0" i="0" baseline="0" err="1">
              <a:gradFill>
                <a:gsLst>
                  <a:gs pos="0">
                    <a:srgbClr val="FFFFFF"/>
                  </a:gs>
                  <a:gs pos="100000">
                    <a:srgbClr val="FFFFFF"/>
                  </a:gs>
                </a:gsLst>
                <a:lin ang="5400000" scaled="0"/>
              </a:gra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p:cNvSpPr>
            <a:spLocks noGrp="1"/>
          </p:cNvSpPr>
          <p:nvPr>
            <p:ph type="title" hasCustomPrompt="1"/>
          </p:nvPr>
        </p:nvSpPr>
        <p:spPr>
          <a:xfrm>
            <a:off x="584200" y="3035808"/>
            <a:ext cx="8757666"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guide id="4" orient="horz" pos="2505"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058790"/>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5" userDrawn="1">
          <p15:clr>
            <a:srgbClr val="5ACBF0"/>
          </p15:clr>
        </p15:guide>
        <p15:guide id="3" orient="horz" pos="288" userDrawn="1">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4109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76248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sability in the Modern Wor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467723-1F79-4942-A4DE-7A958DBECAE8}"/>
              </a:ext>
              <a:ext uri="{C183D7F6-B498-43B3-948B-1728B52AA6E4}">
                <adec:decorative xmlns:adec="http://schemas.microsoft.com/office/drawing/2017/decorative" val="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29"/>
          <a:stretch/>
        </p:blipFill>
        <p:spPr>
          <a:xfrm>
            <a:off x="0" y="0"/>
            <a:ext cx="12190270" cy="6882978"/>
          </a:xfrm>
          <a:prstGeom prst="rect">
            <a:avLst/>
          </a:prstGeom>
        </p:spPr>
      </p:pic>
      <p:sp>
        <p:nvSpPr>
          <p:cNvPr id="3" name="Rectangle 2">
            <a:extLst>
              <a:ext uri="{FF2B5EF4-FFF2-40B4-BE49-F238E27FC236}">
                <a16:creationId xmlns:a16="http://schemas.microsoft.com/office/drawing/2014/main" id="{B15421F1-5462-4A8A-8F6A-BEFC3E8471AC}"/>
              </a:ext>
              <a:ext uri="{C183D7F6-B498-43B3-948B-1728B52AA6E4}">
                <adec:decorative xmlns:adec="http://schemas.microsoft.com/office/drawing/2017/decorative" val="1"/>
              </a:ext>
            </a:extLst>
          </p:cNvPr>
          <p:cNvSpPr/>
          <p:nvPr userDrawn="1"/>
        </p:nvSpPr>
        <p:spPr bwMode="auto">
          <a:xfrm>
            <a:off x="-2094" y="0"/>
            <a:ext cx="12190272" cy="6882978"/>
          </a:xfrm>
          <a:prstGeom prst="rect">
            <a:avLst/>
          </a:prstGeom>
          <a:solidFill>
            <a:srgbClr val="000000">
              <a:alpha val="7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Freeform: Shape 3">
            <a:extLst>
              <a:ext uri="{FF2B5EF4-FFF2-40B4-BE49-F238E27FC236}">
                <a16:creationId xmlns:a16="http://schemas.microsoft.com/office/drawing/2014/main" id="{9B1EC653-4AE2-46DE-B943-C4145560F478}"/>
              </a:ext>
              <a:ext uri="{C183D7F6-B498-43B3-948B-1728B52AA6E4}">
                <adec:decorative xmlns:adec="http://schemas.microsoft.com/office/drawing/2017/decorative" val="1"/>
              </a:ext>
            </a:extLst>
          </p:cNvPr>
          <p:cNvSpPr/>
          <p:nvPr userDrawn="1"/>
        </p:nvSpPr>
        <p:spPr bwMode="auto">
          <a:xfrm>
            <a:off x="10068113" y="412235"/>
            <a:ext cx="2124250" cy="4157360"/>
          </a:xfrm>
          <a:custGeom>
            <a:avLst/>
            <a:gdLst>
              <a:gd name="connsiteX0" fmla="*/ 2124546 w 2124552"/>
              <a:gd name="connsiteY0" fmla="*/ 0 h 4309204"/>
              <a:gd name="connsiteX1" fmla="*/ 2120341 w 2124552"/>
              <a:gd name="connsiteY1" fmla="*/ 3735089 h 4309204"/>
              <a:gd name="connsiteX2" fmla="*/ 2120113 w 2124552"/>
              <a:gd name="connsiteY2" fmla="*/ 3963333 h 4309204"/>
              <a:gd name="connsiteX3" fmla="*/ 61596 w 2124552"/>
              <a:gd name="connsiteY3" fmla="*/ 4157950 h 4309204"/>
              <a:gd name="connsiteX4" fmla="*/ 66876 w 2124552"/>
              <a:gd name="connsiteY4" fmla="*/ 4184105 h 4309204"/>
              <a:gd name="connsiteX5" fmla="*/ 43140 w 2124552"/>
              <a:gd name="connsiteY5" fmla="*/ 4301675 h 4309204"/>
              <a:gd name="connsiteX6" fmla="*/ 39053 w 2124552"/>
              <a:gd name="connsiteY6" fmla="*/ 4309204 h 4309204"/>
              <a:gd name="connsiteX7" fmla="*/ 52064 w 2124552"/>
              <a:gd name="connsiteY7" fmla="*/ 4267289 h 4309204"/>
              <a:gd name="connsiteX8" fmla="*/ 58201 w 2124552"/>
              <a:gd name="connsiteY8" fmla="*/ 4206416 h 4309204"/>
              <a:gd name="connsiteX9" fmla="*/ 6616 w 2124552"/>
              <a:gd name="connsiteY9" fmla="*/ 4037540 h 4309204"/>
              <a:gd name="connsiteX10" fmla="*/ 0 w 2124552"/>
              <a:gd name="connsiteY10" fmla="*/ 4029521 h 4309204"/>
              <a:gd name="connsiteX11" fmla="*/ 2124546 w 2124552"/>
              <a:gd name="connsiteY11" fmla="*/ 0 h 4309204"/>
              <a:gd name="connsiteX0" fmla="*/ 2124546 w 2124552"/>
              <a:gd name="connsiteY0" fmla="*/ 0 h 4301675"/>
              <a:gd name="connsiteX1" fmla="*/ 2120341 w 2124552"/>
              <a:gd name="connsiteY1" fmla="*/ 3735089 h 4301675"/>
              <a:gd name="connsiteX2" fmla="*/ 2120113 w 2124552"/>
              <a:gd name="connsiteY2" fmla="*/ 3963333 h 4301675"/>
              <a:gd name="connsiteX3" fmla="*/ 61596 w 2124552"/>
              <a:gd name="connsiteY3" fmla="*/ 4157950 h 4301675"/>
              <a:gd name="connsiteX4" fmla="*/ 66876 w 2124552"/>
              <a:gd name="connsiteY4" fmla="*/ 4184105 h 4301675"/>
              <a:gd name="connsiteX5" fmla="*/ 43140 w 2124552"/>
              <a:gd name="connsiteY5" fmla="*/ 4301675 h 4301675"/>
              <a:gd name="connsiteX6" fmla="*/ 52064 w 2124552"/>
              <a:gd name="connsiteY6" fmla="*/ 4267289 h 4301675"/>
              <a:gd name="connsiteX7" fmla="*/ 58201 w 2124552"/>
              <a:gd name="connsiteY7" fmla="*/ 4206416 h 4301675"/>
              <a:gd name="connsiteX8" fmla="*/ 6616 w 2124552"/>
              <a:gd name="connsiteY8" fmla="*/ 4037540 h 4301675"/>
              <a:gd name="connsiteX9" fmla="*/ 0 w 2124552"/>
              <a:gd name="connsiteY9" fmla="*/ 4029521 h 4301675"/>
              <a:gd name="connsiteX10" fmla="*/ 2124546 w 2124552"/>
              <a:gd name="connsiteY10" fmla="*/ 0 h 4301675"/>
              <a:gd name="connsiteX0" fmla="*/ 2124546 w 2124552"/>
              <a:gd name="connsiteY0" fmla="*/ 0 h 4267289"/>
              <a:gd name="connsiteX1" fmla="*/ 2120341 w 2124552"/>
              <a:gd name="connsiteY1" fmla="*/ 3735089 h 4267289"/>
              <a:gd name="connsiteX2" fmla="*/ 2120113 w 2124552"/>
              <a:gd name="connsiteY2" fmla="*/ 3963333 h 4267289"/>
              <a:gd name="connsiteX3" fmla="*/ 61596 w 2124552"/>
              <a:gd name="connsiteY3" fmla="*/ 4157950 h 4267289"/>
              <a:gd name="connsiteX4" fmla="*/ 66876 w 2124552"/>
              <a:gd name="connsiteY4" fmla="*/ 4184105 h 4267289"/>
              <a:gd name="connsiteX5" fmla="*/ 52064 w 2124552"/>
              <a:gd name="connsiteY5" fmla="*/ 4267289 h 4267289"/>
              <a:gd name="connsiteX6" fmla="*/ 58201 w 2124552"/>
              <a:gd name="connsiteY6" fmla="*/ 4206416 h 4267289"/>
              <a:gd name="connsiteX7" fmla="*/ 6616 w 2124552"/>
              <a:gd name="connsiteY7" fmla="*/ 4037540 h 4267289"/>
              <a:gd name="connsiteX8" fmla="*/ 0 w 2124552"/>
              <a:gd name="connsiteY8" fmla="*/ 4029521 h 4267289"/>
              <a:gd name="connsiteX9" fmla="*/ 2124546 w 2124552"/>
              <a:gd name="connsiteY9" fmla="*/ 0 h 4267289"/>
              <a:gd name="connsiteX0" fmla="*/ 2124546 w 2124552"/>
              <a:gd name="connsiteY0" fmla="*/ 0 h 4214400"/>
              <a:gd name="connsiteX1" fmla="*/ 2120341 w 2124552"/>
              <a:gd name="connsiteY1" fmla="*/ 3735089 h 4214400"/>
              <a:gd name="connsiteX2" fmla="*/ 2120113 w 2124552"/>
              <a:gd name="connsiteY2" fmla="*/ 3963333 h 4214400"/>
              <a:gd name="connsiteX3" fmla="*/ 61596 w 2124552"/>
              <a:gd name="connsiteY3" fmla="*/ 4157950 h 4214400"/>
              <a:gd name="connsiteX4" fmla="*/ 66876 w 2124552"/>
              <a:gd name="connsiteY4" fmla="*/ 4184105 h 4214400"/>
              <a:gd name="connsiteX5" fmla="*/ 58201 w 2124552"/>
              <a:gd name="connsiteY5" fmla="*/ 4206416 h 4214400"/>
              <a:gd name="connsiteX6" fmla="*/ 6616 w 2124552"/>
              <a:gd name="connsiteY6" fmla="*/ 4037540 h 4214400"/>
              <a:gd name="connsiteX7" fmla="*/ 0 w 2124552"/>
              <a:gd name="connsiteY7" fmla="*/ 4029521 h 4214400"/>
              <a:gd name="connsiteX8" fmla="*/ 2124546 w 2124552"/>
              <a:gd name="connsiteY8" fmla="*/ 0 h 4214400"/>
              <a:gd name="connsiteX0" fmla="*/ 2124546 w 2124552"/>
              <a:gd name="connsiteY0" fmla="*/ 0 h 4184105"/>
              <a:gd name="connsiteX1" fmla="*/ 2120341 w 2124552"/>
              <a:gd name="connsiteY1" fmla="*/ 3735089 h 4184105"/>
              <a:gd name="connsiteX2" fmla="*/ 2120113 w 2124552"/>
              <a:gd name="connsiteY2" fmla="*/ 3963333 h 4184105"/>
              <a:gd name="connsiteX3" fmla="*/ 61596 w 2124552"/>
              <a:gd name="connsiteY3" fmla="*/ 4157950 h 4184105"/>
              <a:gd name="connsiteX4" fmla="*/ 66876 w 2124552"/>
              <a:gd name="connsiteY4" fmla="*/ 4184105 h 4184105"/>
              <a:gd name="connsiteX5" fmla="*/ 6616 w 2124552"/>
              <a:gd name="connsiteY5" fmla="*/ 4037540 h 4184105"/>
              <a:gd name="connsiteX6" fmla="*/ 0 w 2124552"/>
              <a:gd name="connsiteY6" fmla="*/ 4029521 h 4184105"/>
              <a:gd name="connsiteX7" fmla="*/ 2124546 w 2124552"/>
              <a:gd name="connsiteY7" fmla="*/ 0 h 4184105"/>
              <a:gd name="connsiteX0" fmla="*/ 2124546 w 2124552"/>
              <a:gd name="connsiteY0" fmla="*/ 0 h 4157950"/>
              <a:gd name="connsiteX1" fmla="*/ 2120341 w 2124552"/>
              <a:gd name="connsiteY1" fmla="*/ 3735089 h 4157950"/>
              <a:gd name="connsiteX2" fmla="*/ 2120113 w 2124552"/>
              <a:gd name="connsiteY2" fmla="*/ 3963333 h 4157950"/>
              <a:gd name="connsiteX3" fmla="*/ 61596 w 2124552"/>
              <a:gd name="connsiteY3" fmla="*/ 4157950 h 4157950"/>
              <a:gd name="connsiteX4" fmla="*/ 6616 w 2124552"/>
              <a:gd name="connsiteY4" fmla="*/ 4037540 h 4157950"/>
              <a:gd name="connsiteX5" fmla="*/ 0 w 2124552"/>
              <a:gd name="connsiteY5" fmla="*/ 4029521 h 4157950"/>
              <a:gd name="connsiteX6" fmla="*/ 2124546 w 2124552"/>
              <a:gd name="connsiteY6" fmla="*/ 0 h 4157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4552" h="4157950">
                <a:moveTo>
                  <a:pt x="2124546" y="0"/>
                </a:moveTo>
                <a:cubicBezTo>
                  <a:pt x="2124712" y="1431986"/>
                  <a:pt x="2121742" y="2490059"/>
                  <a:pt x="2120341" y="3735089"/>
                </a:cubicBezTo>
                <a:lnTo>
                  <a:pt x="2120113" y="3963333"/>
                </a:lnTo>
                <a:lnTo>
                  <a:pt x="61596" y="4157950"/>
                </a:lnTo>
                <a:lnTo>
                  <a:pt x="6616" y="4037540"/>
                </a:lnTo>
                <a:lnTo>
                  <a:pt x="0" y="4029521"/>
                </a:lnTo>
                <a:lnTo>
                  <a:pt x="2124546" y="0"/>
                </a:lnTo>
                <a:close/>
              </a:path>
            </a:pathLst>
          </a:custGeom>
          <a:solidFill>
            <a:schemeClr val="bg1">
              <a:alpha val="35000"/>
            </a:schemeClr>
          </a:solidFill>
          <a:ln>
            <a:solidFill>
              <a:schemeClr val="bg2"/>
            </a:solid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grpSp>
        <p:nvGrpSpPr>
          <p:cNvPr id="5" name="Group 4">
            <a:extLst>
              <a:ext uri="{FF2B5EF4-FFF2-40B4-BE49-F238E27FC236}">
                <a16:creationId xmlns:a16="http://schemas.microsoft.com/office/drawing/2014/main" id="{A2BC8296-800A-4D1C-9495-65AB2F84627E}"/>
              </a:ext>
              <a:ext uri="{C183D7F6-B498-43B3-948B-1728B52AA6E4}">
                <adec:decorative xmlns:adec="http://schemas.microsoft.com/office/drawing/2017/decorative" val="1"/>
              </a:ext>
            </a:extLst>
          </p:cNvPr>
          <p:cNvGrpSpPr/>
          <p:nvPr userDrawn="1"/>
        </p:nvGrpSpPr>
        <p:grpSpPr>
          <a:xfrm>
            <a:off x="9962790" y="959275"/>
            <a:ext cx="1848156" cy="3465217"/>
            <a:chOff x="10172391" y="1176480"/>
            <a:chExt cx="1848418" cy="3465709"/>
          </a:xfrm>
        </p:grpSpPr>
        <p:sp>
          <p:nvSpPr>
            <p:cNvPr id="6" name="Freeform 102">
              <a:extLst>
                <a:ext uri="{FF2B5EF4-FFF2-40B4-BE49-F238E27FC236}">
                  <a16:creationId xmlns:a16="http://schemas.microsoft.com/office/drawing/2014/main" id="{9E514DAB-D3EB-4841-BCB8-C608185C21A6}"/>
                </a:ext>
              </a:extLst>
            </p:cNvPr>
            <p:cNvSpPr/>
            <p:nvPr/>
          </p:nvSpPr>
          <p:spPr bwMode="auto">
            <a:xfrm flipV="1">
              <a:off x="10236541" y="1176480"/>
              <a:ext cx="1784268" cy="3418002"/>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103">
              <a:extLst>
                <a:ext uri="{FF2B5EF4-FFF2-40B4-BE49-F238E27FC236}">
                  <a16:creationId xmlns:a16="http://schemas.microsoft.com/office/drawing/2014/main" id="{04026D58-A3E2-40D4-BD3D-49F6BEEA9AAD}"/>
                </a:ext>
              </a:extLst>
            </p:cNvPr>
            <p:cNvSpPr/>
            <p:nvPr/>
          </p:nvSpPr>
          <p:spPr bwMode="auto">
            <a:xfrm flipV="1">
              <a:off x="10172391" y="1501713"/>
              <a:ext cx="1593735" cy="3053011"/>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104">
              <a:extLst>
                <a:ext uri="{FF2B5EF4-FFF2-40B4-BE49-F238E27FC236}">
                  <a16:creationId xmlns:a16="http://schemas.microsoft.com/office/drawing/2014/main" id="{CD8009B3-4357-45C7-BB0E-F8B0B7606683}"/>
                </a:ext>
              </a:extLst>
            </p:cNvPr>
            <p:cNvSpPr/>
            <p:nvPr/>
          </p:nvSpPr>
          <p:spPr bwMode="auto">
            <a:xfrm flipV="1">
              <a:off x="10283708" y="1411745"/>
              <a:ext cx="1700922" cy="3230444"/>
            </a:xfrm>
            <a:custGeom>
              <a:avLst/>
              <a:gdLst>
                <a:gd name="connsiteX0" fmla="*/ 0 w 3192378"/>
                <a:gd name="connsiteY0" fmla="*/ 0 h 818147"/>
                <a:gd name="connsiteX1" fmla="*/ 2374231 w 3192378"/>
                <a:gd name="connsiteY1" fmla="*/ 0 h 818147"/>
                <a:gd name="connsiteX2" fmla="*/ 3192378 w 3192378"/>
                <a:gd name="connsiteY2" fmla="*/ 818147 h 818147"/>
                <a:gd name="connsiteX0" fmla="*/ 0 w 4731315"/>
                <a:gd name="connsiteY0" fmla="*/ 0 h 2357084"/>
                <a:gd name="connsiteX1" fmla="*/ 2374231 w 4731315"/>
                <a:gd name="connsiteY1" fmla="*/ 0 h 2357084"/>
                <a:gd name="connsiteX2" fmla="*/ 4731315 w 4731315"/>
                <a:gd name="connsiteY2" fmla="*/ 2357084 h 2357084"/>
                <a:gd name="connsiteX0" fmla="*/ 0 w 5028302"/>
                <a:gd name="connsiteY0" fmla="*/ 6750 h 2357084"/>
                <a:gd name="connsiteX1" fmla="*/ 2671218 w 5028302"/>
                <a:gd name="connsiteY1" fmla="*/ 0 h 2357084"/>
                <a:gd name="connsiteX2" fmla="*/ 5028302 w 5028302"/>
                <a:gd name="connsiteY2" fmla="*/ 2357084 h 2357084"/>
                <a:gd name="connsiteX0" fmla="*/ 0 w 5183546"/>
                <a:gd name="connsiteY0" fmla="*/ 6750 h 2357084"/>
                <a:gd name="connsiteX1" fmla="*/ 2826462 w 5183546"/>
                <a:gd name="connsiteY1" fmla="*/ 0 h 2357084"/>
                <a:gd name="connsiteX2" fmla="*/ 5183546 w 5183546"/>
                <a:gd name="connsiteY2" fmla="*/ 2357084 h 2357084"/>
                <a:gd name="connsiteX0" fmla="*/ 0 w 2357084"/>
                <a:gd name="connsiteY0" fmla="*/ 0 h 2357084"/>
                <a:gd name="connsiteX1" fmla="*/ 2357084 w 2357084"/>
                <a:gd name="connsiteY1" fmla="*/ 2357084 h 2357084"/>
              </a:gdLst>
              <a:ahLst/>
              <a:cxnLst>
                <a:cxn ang="0">
                  <a:pos x="connsiteX0" y="connsiteY0"/>
                </a:cxn>
                <a:cxn ang="0">
                  <a:pos x="connsiteX1" y="connsiteY1"/>
                </a:cxn>
              </a:cxnLst>
              <a:rect l="l" t="t" r="r" b="b"/>
              <a:pathLst>
                <a:path w="2357084" h="2357084">
                  <a:moveTo>
                    <a:pt x="0" y="0"/>
                  </a:moveTo>
                  <a:lnTo>
                    <a:pt x="2357084" y="2357084"/>
                  </a:lnTo>
                </a:path>
              </a:pathLst>
            </a:custGeom>
            <a:noFill/>
            <a:ln w="19050">
              <a:solidFill>
                <a:schemeClr val="bg2"/>
              </a:solidFill>
              <a:prstDash val="sysDash"/>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cxnSp>
        <p:nvCxnSpPr>
          <p:cNvPr id="9" name="Straight Connector 8">
            <a:extLst>
              <a:ext uri="{FF2B5EF4-FFF2-40B4-BE49-F238E27FC236}">
                <a16:creationId xmlns:a16="http://schemas.microsoft.com/office/drawing/2014/main" id="{0A6E9DAA-C74D-4FEC-B6E1-AE64EC93C27C}"/>
              </a:ext>
              <a:ext uri="{C183D7F6-B498-43B3-948B-1728B52AA6E4}">
                <adec:decorative xmlns:adec="http://schemas.microsoft.com/office/drawing/2017/decorative" val="1"/>
              </a:ext>
            </a:extLst>
          </p:cNvPr>
          <p:cNvCxnSpPr>
            <a:cxnSpLocks/>
          </p:cNvCxnSpPr>
          <p:nvPr userDrawn="1"/>
        </p:nvCxnSpPr>
        <p:spPr>
          <a:xfrm>
            <a:off x="9828706" y="2343351"/>
            <a:ext cx="0" cy="1944348"/>
          </a:xfrm>
          <a:prstGeom prst="line">
            <a:avLst/>
          </a:prstGeom>
          <a:ln w="19050">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B1E0C74E-95F3-4A12-931C-180E49D46DCE}"/>
              </a:ext>
              <a:ext uri="{C183D7F6-B498-43B3-948B-1728B52AA6E4}">
                <adec:decorative xmlns:adec="http://schemas.microsoft.com/office/drawing/2017/decorative" val="1"/>
              </a:ext>
            </a:extLst>
          </p:cNvPr>
          <p:cNvSpPr/>
          <p:nvPr userDrawn="1"/>
        </p:nvSpPr>
        <p:spPr bwMode="auto">
          <a:xfrm>
            <a:off x="9733805" y="22582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4E52A952-F7B1-40D4-95BB-E0367BAB0B60}"/>
              </a:ext>
              <a:ext uri="{C183D7F6-B498-43B3-948B-1728B52AA6E4}">
                <adec:decorative xmlns:adec="http://schemas.microsoft.com/office/drawing/2017/decorative" val="1"/>
              </a:ext>
            </a:extLst>
          </p:cNvPr>
          <p:cNvSpPr/>
          <p:nvPr userDrawn="1"/>
        </p:nvSpPr>
        <p:spPr bwMode="auto">
          <a:xfrm>
            <a:off x="9733805" y="282158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96067DFC-763A-475B-B4D2-37B0B50D0436}"/>
              </a:ext>
              <a:ext uri="{C183D7F6-B498-43B3-948B-1728B52AA6E4}">
                <adec:decorative xmlns:adec="http://schemas.microsoft.com/office/drawing/2017/decorative" val="1"/>
              </a:ext>
            </a:extLst>
          </p:cNvPr>
          <p:cNvSpPr/>
          <p:nvPr userDrawn="1"/>
        </p:nvSpPr>
        <p:spPr bwMode="auto">
          <a:xfrm>
            <a:off x="9733805" y="3405956"/>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Freeform: Shape 12">
            <a:extLst>
              <a:ext uri="{FF2B5EF4-FFF2-40B4-BE49-F238E27FC236}">
                <a16:creationId xmlns:a16="http://schemas.microsoft.com/office/drawing/2014/main" id="{078690A5-014C-4158-85D0-D6438120566D}"/>
              </a:ext>
              <a:ext uri="{C183D7F6-B498-43B3-948B-1728B52AA6E4}">
                <adec:decorative xmlns:adec="http://schemas.microsoft.com/office/drawing/2017/decorative" val="1"/>
              </a:ext>
            </a:extLst>
          </p:cNvPr>
          <p:cNvSpPr/>
          <p:nvPr userDrawn="1"/>
        </p:nvSpPr>
        <p:spPr bwMode="auto">
          <a:xfrm>
            <a:off x="655690" y="4380642"/>
            <a:ext cx="11567347" cy="1125538"/>
          </a:xfrm>
          <a:custGeom>
            <a:avLst/>
            <a:gdLst>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906407 h 1125697"/>
              <a:gd name="connsiteX5" fmla="*/ 9190469 w 11568987"/>
              <a:gd name="connsiteY5" fmla="*/ 1105538 h 1125697"/>
              <a:gd name="connsiteX6" fmla="*/ 42333 w 11568987"/>
              <a:gd name="connsiteY6" fmla="*/ 1125697 h 1125697"/>
              <a:gd name="connsiteX7" fmla="*/ 0 w 11568987"/>
              <a:gd name="connsiteY7" fmla="*/ 1091576 h 1125697"/>
              <a:gd name="connsiteX8" fmla="*/ 8907725 w 11568987"/>
              <a:gd name="connsiteY8" fmla="*/ 267416 h 1125697"/>
              <a:gd name="connsiteX9" fmla="*/ 8926633 w 11568987"/>
              <a:gd name="connsiteY9" fmla="*/ 361073 h 1125697"/>
              <a:gd name="connsiteX10" fmla="*/ 9115124 w 11568987"/>
              <a:gd name="connsiteY10" fmla="*/ 531970 h 1125697"/>
              <a:gd name="connsiteX11" fmla="*/ 9190469 w 11568987"/>
              <a:gd name="connsiteY11" fmla="*/ 543361 h 1125697"/>
              <a:gd name="connsiteX12" fmla="*/ 9190469 w 11568987"/>
              <a:gd name="connsiteY12" fmla="*/ 716581 h 1125697"/>
              <a:gd name="connsiteX13" fmla="*/ 9191698 w 11568987"/>
              <a:gd name="connsiteY13" fmla="*/ 716468 h 1125697"/>
              <a:gd name="connsiteX14" fmla="*/ 9191698 w 11568987"/>
              <a:gd name="connsiteY14" fmla="*/ 521467 h 1125697"/>
              <a:gd name="connsiteX15" fmla="*/ 9209265 w 11568987"/>
              <a:gd name="connsiteY15" fmla="*/ 523238 h 1125697"/>
              <a:gd name="connsiteX16" fmla="*/ 9511311 w 11568987"/>
              <a:gd name="connsiteY16" fmla="*/ 221192 h 1125697"/>
              <a:gd name="connsiteX17" fmla="*/ 9506031 w 11568987"/>
              <a:gd name="connsiteY17" fmla="*/ 195037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1698 w 11568987"/>
              <a:gd name="connsiteY3" fmla="*/ 906404 h 1125697"/>
              <a:gd name="connsiteX4" fmla="*/ 9190469 w 11568987"/>
              <a:gd name="connsiteY4" fmla="*/ 1105538 h 1125697"/>
              <a:gd name="connsiteX5" fmla="*/ 42333 w 11568987"/>
              <a:gd name="connsiteY5" fmla="*/ 1125697 h 1125697"/>
              <a:gd name="connsiteX6" fmla="*/ 0 w 11568987"/>
              <a:gd name="connsiteY6" fmla="*/ 1091576 h 1125697"/>
              <a:gd name="connsiteX7" fmla="*/ 8907725 w 11568987"/>
              <a:gd name="connsiteY7" fmla="*/ 267416 h 1125697"/>
              <a:gd name="connsiteX8" fmla="*/ 8926633 w 11568987"/>
              <a:gd name="connsiteY8" fmla="*/ 361073 h 1125697"/>
              <a:gd name="connsiteX9" fmla="*/ 9115124 w 11568987"/>
              <a:gd name="connsiteY9" fmla="*/ 531970 h 1125697"/>
              <a:gd name="connsiteX10" fmla="*/ 9190469 w 11568987"/>
              <a:gd name="connsiteY10" fmla="*/ 543361 h 1125697"/>
              <a:gd name="connsiteX11" fmla="*/ 9190469 w 11568987"/>
              <a:gd name="connsiteY11" fmla="*/ 716581 h 1125697"/>
              <a:gd name="connsiteX12" fmla="*/ 9191698 w 11568987"/>
              <a:gd name="connsiteY12" fmla="*/ 716468 h 1125697"/>
              <a:gd name="connsiteX13" fmla="*/ 9191698 w 11568987"/>
              <a:gd name="connsiteY13" fmla="*/ 521467 h 1125697"/>
              <a:gd name="connsiteX14" fmla="*/ 9209265 w 11568987"/>
              <a:gd name="connsiteY14" fmla="*/ 523238 h 1125697"/>
              <a:gd name="connsiteX15" fmla="*/ 9511311 w 11568987"/>
              <a:gd name="connsiteY15" fmla="*/ 221192 h 1125697"/>
              <a:gd name="connsiteX16" fmla="*/ 9506031 w 11568987"/>
              <a:gd name="connsiteY16" fmla="*/ 195037 h 1125697"/>
              <a:gd name="connsiteX17" fmla="*/ 11568987 w 11568987"/>
              <a:gd name="connsiteY17"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9190469 w 11568987"/>
              <a:gd name="connsiteY3" fmla="*/ 1105538 h 1125697"/>
              <a:gd name="connsiteX4" fmla="*/ 42333 w 11568987"/>
              <a:gd name="connsiteY4" fmla="*/ 1125697 h 1125697"/>
              <a:gd name="connsiteX5" fmla="*/ 0 w 11568987"/>
              <a:gd name="connsiteY5" fmla="*/ 1091576 h 1125697"/>
              <a:gd name="connsiteX6" fmla="*/ 8907725 w 11568987"/>
              <a:gd name="connsiteY6" fmla="*/ 267416 h 1125697"/>
              <a:gd name="connsiteX7" fmla="*/ 8926633 w 11568987"/>
              <a:gd name="connsiteY7" fmla="*/ 361073 h 1125697"/>
              <a:gd name="connsiteX8" fmla="*/ 9115124 w 11568987"/>
              <a:gd name="connsiteY8" fmla="*/ 531970 h 1125697"/>
              <a:gd name="connsiteX9" fmla="*/ 9190469 w 11568987"/>
              <a:gd name="connsiteY9" fmla="*/ 543361 h 1125697"/>
              <a:gd name="connsiteX10" fmla="*/ 9190469 w 11568987"/>
              <a:gd name="connsiteY10" fmla="*/ 716581 h 1125697"/>
              <a:gd name="connsiteX11" fmla="*/ 9191698 w 11568987"/>
              <a:gd name="connsiteY11" fmla="*/ 716468 h 1125697"/>
              <a:gd name="connsiteX12" fmla="*/ 9191698 w 11568987"/>
              <a:gd name="connsiteY12" fmla="*/ 521467 h 1125697"/>
              <a:gd name="connsiteX13" fmla="*/ 9209265 w 11568987"/>
              <a:gd name="connsiteY13" fmla="*/ 523238 h 1125697"/>
              <a:gd name="connsiteX14" fmla="*/ 9511311 w 11568987"/>
              <a:gd name="connsiteY14" fmla="*/ 221192 h 1125697"/>
              <a:gd name="connsiteX15" fmla="*/ 9506031 w 11568987"/>
              <a:gd name="connsiteY15" fmla="*/ 195037 h 1125697"/>
              <a:gd name="connsiteX16" fmla="*/ 11568987 w 11568987"/>
              <a:gd name="connsiteY16" fmla="*/ 0 h 1125697"/>
              <a:gd name="connsiteX0" fmla="*/ 11568987 w 11568987"/>
              <a:gd name="connsiteY0" fmla="*/ 0 h 1125697"/>
              <a:gd name="connsiteX1" fmla="*/ 11568987 w 11568987"/>
              <a:gd name="connsiteY1" fmla="*/ 1105538 h 1125697"/>
              <a:gd name="connsiteX2" fmla="*/ 9191698 w 11568987"/>
              <a:gd name="connsiteY2" fmla="*/ 1105538 h 1125697"/>
              <a:gd name="connsiteX3" fmla="*/ 42333 w 11568987"/>
              <a:gd name="connsiteY3" fmla="*/ 1125697 h 1125697"/>
              <a:gd name="connsiteX4" fmla="*/ 0 w 11568987"/>
              <a:gd name="connsiteY4" fmla="*/ 1091576 h 1125697"/>
              <a:gd name="connsiteX5" fmla="*/ 8907725 w 11568987"/>
              <a:gd name="connsiteY5" fmla="*/ 267416 h 1125697"/>
              <a:gd name="connsiteX6" fmla="*/ 8926633 w 11568987"/>
              <a:gd name="connsiteY6" fmla="*/ 361073 h 1125697"/>
              <a:gd name="connsiteX7" fmla="*/ 9115124 w 11568987"/>
              <a:gd name="connsiteY7" fmla="*/ 531970 h 1125697"/>
              <a:gd name="connsiteX8" fmla="*/ 9190469 w 11568987"/>
              <a:gd name="connsiteY8" fmla="*/ 543361 h 1125697"/>
              <a:gd name="connsiteX9" fmla="*/ 9190469 w 11568987"/>
              <a:gd name="connsiteY9" fmla="*/ 716581 h 1125697"/>
              <a:gd name="connsiteX10" fmla="*/ 9191698 w 11568987"/>
              <a:gd name="connsiteY10" fmla="*/ 716468 h 1125697"/>
              <a:gd name="connsiteX11" fmla="*/ 9191698 w 11568987"/>
              <a:gd name="connsiteY11" fmla="*/ 521467 h 1125697"/>
              <a:gd name="connsiteX12" fmla="*/ 9209265 w 11568987"/>
              <a:gd name="connsiteY12" fmla="*/ 523238 h 1125697"/>
              <a:gd name="connsiteX13" fmla="*/ 9511311 w 11568987"/>
              <a:gd name="connsiteY13" fmla="*/ 221192 h 1125697"/>
              <a:gd name="connsiteX14" fmla="*/ 9506031 w 11568987"/>
              <a:gd name="connsiteY14" fmla="*/ 195037 h 1125697"/>
              <a:gd name="connsiteX15" fmla="*/ 11568987 w 11568987"/>
              <a:gd name="connsiteY15"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716468 h 1125697"/>
              <a:gd name="connsiteX10" fmla="*/ 9191698 w 11568987"/>
              <a:gd name="connsiteY10" fmla="*/ 521467 h 1125697"/>
              <a:gd name="connsiteX11" fmla="*/ 9209265 w 11568987"/>
              <a:gd name="connsiteY11" fmla="*/ 523238 h 1125697"/>
              <a:gd name="connsiteX12" fmla="*/ 9511311 w 11568987"/>
              <a:gd name="connsiteY12" fmla="*/ 221192 h 1125697"/>
              <a:gd name="connsiteX13" fmla="*/ 9506031 w 11568987"/>
              <a:gd name="connsiteY13" fmla="*/ 195037 h 1125697"/>
              <a:gd name="connsiteX14" fmla="*/ 11568987 w 11568987"/>
              <a:gd name="connsiteY14"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0469 w 11568987"/>
              <a:gd name="connsiteY8" fmla="*/ 716581 h 1125697"/>
              <a:gd name="connsiteX9" fmla="*/ 9191698 w 11568987"/>
              <a:gd name="connsiteY9" fmla="*/ 521467 h 1125697"/>
              <a:gd name="connsiteX10" fmla="*/ 9209265 w 11568987"/>
              <a:gd name="connsiteY10" fmla="*/ 523238 h 1125697"/>
              <a:gd name="connsiteX11" fmla="*/ 9511311 w 11568987"/>
              <a:gd name="connsiteY11" fmla="*/ 221192 h 1125697"/>
              <a:gd name="connsiteX12" fmla="*/ 9506031 w 11568987"/>
              <a:gd name="connsiteY12" fmla="*/ 195037 h 1125697"/>
              <a:gd name="connsiteX13" fmla="*/ 11568987 w 11568987"/>
              <a:gd name="connsiteY13" fmla="*/ 0 h 1125697"/>
              <a:gd name="connsiteX0" fmla="*/ 11568987 w 11568987"/>
              <a:gd name="connsiteY0" fmla="*/ 0 h 1125697"/>
              <a:gd name="connsiteX1" fmla="*/ 11568987 w 11568987"/>
              <a:gd name="connsiteY1" fmla="*/ 1105538 h 1125697"/>
              <a:gd name="connsiteX2" fmla="*/ 42333 w 11568987"/>
              <a:gd name="connsiteY2" fmla="*/ 1125697 h 1125697"/>
              <a:gd name="connsiteX3" fmla="*/ 0 w 11568987"/>
              <a:gd name="connsiteY3" fmla="*/ 1091576 h 1125697"/>
              <a:gd name="connsiteX4" fmla="*/ 8907725 w 11568987"/>
              <a:gd name="connsiteY4" fmla="*/ 267416 h 1125697"/>
              <a:gd name="connsiteX5" fmla="*/ 8926633 w 11568987"/>
              <a:gd name="connsiteY5" fmla="*/ 361073 h 1125697"/>
              <a:gd name="connsiteX6" fmla="*/ 9115124 w 11568987"/>
              <a:gd name="connsiteY6" fmla="*/ 531970 h 1125697"/>
              <a:gd name="connsiteX7" fmla="*/ 9190469 w 11568987"/>
              <a:gd name="connsiteY7" fmla="*/ 543361 h 1125697"/>
              <a:gd name="connsiteX8" fmla="*/ 9191698 w 11568987"/>
              <a:gd name="connsiteY8" fmla="*/ 521467 h 1125697"/>
              <a:gd name="connsiteX9" fmla="*/ 9209265 w 11568987"/>
              <a:gd name="connsiteY9" fmla="*/ 523238 h 1125697"/>
              <a:gd name="connsiteX10" fmla="*/ 9511311 w 11568987"/>
              <a:gd name="connsiteY10" fmla="*/ 221192 h 1125697"/>
              <a:gd name="connsiteX11" fmla="*/ 9506031 w 11568987"/>
              <a:gd name="connsiteY11" fmla="*/ 195037 h 1125697"/>
              <a:gd name="connsiteX12" fmla="*/ 11568987 w 11568987"/>
              <a:gd name="connsiteY12" fmla="*/ 0 h 11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8987" h="1125697">
                <a:moveTo>
                  <a:pt x="11568987" y="0"/>
                </a:moveTo>
                <a:lnTo>
                  <a:pt x="11568987" y="1105538"/>
                </a:lnTo>
                <a:lnTo>
                  <a:pt x="42333" y="1125697"/>
                </a:lnTo>
                <a:lnTo>
                  <a:pt x="0" y="1091576"/>
                </a:lnTo>
                <a:lnTo>
                  <a:pt x="8907725" y="267416"/>
                </a:lnTo>
                <a:lnTo>
                  <a:pt x="8926633" y="361073"/>
                </a:lnTo>
                <a:cubicBezTo>
                  <a:pt x="8961023" y="442380"/>
                  <a:pt x="9030002" y="505494"/>
                  <a:pt x="9115124" y="531970"/>
                </a:cubicBezTo>
                <a:lnTo>
                  <a:pt x="9190469" y="543361"/>
                </a:lnTo>
                <a:cubicBezTo>
                  <a:pt x="9190879" y="536063"/>
                  <a:pt x="9191288" y="528765"/>
                  <a:pt x="9191698" y="521467"/>
                </a:cubicBezTo>
                <a:lnTo>
                  <a:pt x="9209265" y="523238"/>
                </a:lnTo>
                <a:cubicBezTo>
                  <a:pt x="9376080" y="523238"/>
                  <a:pt x="9511311" y="388007"/>
                  <a:pt x="9511311" y="221192"/>
                </a:cubicBezTo>
                <a:lnTo>
                  <a:pt x="9506031" y="195037"/>
                </a:lnTo>
                <a:lnTo>
                  <a:pt x="11568987" y="0"/>
                </a:lnTo>
                <a:close/>
              </a:path>
            </a:pathLst>
          </a:custGeom>
          <a:solidFill>
            <a:schemeClr val="bg1">
              <a:alpha val="35000"/>
            </a:schemeClr>
          </a:solidFill>
          <a:ln>
            <a:noFill/>
          </a:ln>
        </p:spPr>
        <p:txBody>
          <a:bodyPr wrap="square" lIns="182854"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Segoe UI"/>
              <a:ea typeface="+mn-ea"/>
              <a:cs typeface="+mn-cs"/>
            </a:endParaRPr>
          </a:p>
        </p:txBody>
      </p:sp>
      <p:sp>
        <p:nvSpPr>
          <p:cNvPr id="14" name="Rectangle 13">
            <a:extLst>
              <a:ext uri="{FF2B5EF4-FFF2-40B4-BE49-F238E27FC236}">
                <a16:creationId xmlns:a16="http://schemas.microsoft.com/office/drawing/2014/main" id="{CB7113C0-5254-448D-B4B3-067558DACE5F}"/>
              </a:ext>
              <a:ext uri="{C183D7F6-B498-43B3-948B-1728B52AA6E4}">
                <adec:decorative xmlns:adec="http://schemas.microsoft.com/office/drawing/2017/decorative" val="1"/>
              </a:ext>
            </a:extLst>
          </p:cNvPr>
          <p:cNvSpPr/>
          <p:nvPr userDrawn="1"/>
        </p:nvSpPr>
        <p:spPr bwMode="auto">
          <a:xfrm>
            <a:off x="-13990" y="5485143"/>
            <a:ext cx="12190271" cy="139190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5" name="Straight Arrow Connector 14">
            <a:extLst>
              <a:ext uri="{FF2B5EF4-FFF2-40B4-BE49-F238E27FC236}">
                <a16:creationId xmlns:a16="http://schemas.microsoft.com/office/drawing/2014/main" id="{99AC0CA1-E339-4C6A-8E4A-873C4AC8361A}"/>
              </a:ext>
              <a:ext uri="{C183D7F6-B498-43B3-948B-1728B52AA6E4}">
                <adec:decorative xmlns:adec="http://schemas.microsoft.com/office/drawing/2017/decorative" val="1"/>
              </a:ext>
            </a:extLst>
          </p:cNvPr>
          <p:cNvCxnSpPr/>
          <p:nvPr userDrawn="1"/>
        </p:nvCxnSpPr>
        <p:spPr>
          <a:xfrm flipV="1">
            <a:off x="865" y="5467208"/>
            <a:ext cx="11922963" cy="13222"/>
          </a:xfrm>
          <a:prstGeom prst="straightConnector1">
            <a:avLst/>
          </a:prstGeom>
          <a:ln w="19050">
            <a:solidFill>
              <a:schemeClr val="bg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D208F1AB-1DF0-4EEA-A1B7-B3AC6A509DFB}"/>
              </a:ext>
              <a:ext uri="{C183D7F6-B498-43B3-948B-1728B52AA6E4}">
                <adec:decorative xmlns:adec="http://schemas.microsoft.com/office/drawing/2017/decorative" val="1"/>
              </a:ext>
            </a:extLst>
          </p:cNvPr>
          <p:cNvSpPr/>
          <p:nvPr userDrawn="1"/>
        </p:nvSpPr>
        <p:spPr bwMode="auto">
          <a:xfrm>
            <a:off x="9733805"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7" name="Straight Connector 16">
            <a:extLst>
              <a:ext uri="{FF2B5EF4-FFF2-40B4-BE49-F238E27FC236}">
                <a16:creationId xmlns:a16="http://schemas.microsoft.com/office/drawing/2014/main" id="{8F3E819F-7E92-4E75-8ADE-B602FEB3A69C}"/>
              </a:ext>
              <a:ext uri="{C183D7F6-B498-43B3-948B-1728B52AA6E4}">
                <adec:decorative xmlns:adec="http://schemas.microsoft.com/office/drawing/2017/decorative" val="1"/>
              </a:ext>
            </a:extLst>
          </p:cNvPr>
          <p:cNvCxnSpPr/>
          <p:nvPr userDrawn="1"/>
        </p:nvCxnSpPr>
        <p:spPr>
          <a:xfrm>
            <a:off x="2685497" y="5657899"/>
            <a:ext cx="0" cy="365708"/>
          </a:xfrm>
          <a:prstGeom prst="line">
            <a:avLst/>
          </a:prstGeom>
          <a:noFill/>
          <a:ln w="19050" cap="flat" cmpd="sng" algn="ctr">
            <a:solidFill>
              <a:schemeClr val="bg2"/>
            </a:solidFill>
            <a:prstDash val="solid"/>
            <a:headEnd type="none"/>
            <a:tailEnd type="none"/>
          </a:ln>
          <a:effectLst/>
        </p:spPr>
      </p:cxnSp>
      <p:cxnSp>
        <p:nvCxnSpPr>
          <p:cNvPr id="18" name="Straight Connector 17">
            <a:extLst>
              <a:ext uri="{FF2B5EF4-FFF2-40B4-BE49-F238E27FC236}">
                <a16:creationId xmlns:a16="http://schemas.microsoft.com/office/drawing/2014/main" id="{C8D6B3D4-6C58-4573-A957-44DE42705BF2}"/>
              </a:ext>
              <a:ext uri="{C183D7F6-B498-43B3-948B-1728B52AA6E4}">
                <adec:decorative xmlns:adec="http://schemas.microsoft.com/office/drawing/2017/decorative" val="1"/>
              </a:ext>
            </a:extLst>
          </p:cNvPr>
          <p:cNvCxnSpPr/>
          <p:nvPr userDrawn="1"/>
        </p:nvCxnSpPr>
        <p:spPr>
          <a:xfrm>
            <a:off x="9831411" y="5657899"/>
            <a:ext cx="0" cy="365708"/>
          </a:xfrm>
          <a:prstGeom prst="line">
            <a:avLst/>
          </a:prstGeom>
          <a:noFill/>
          <a:ln w="19050" cap="flat" cmpd="sng" algn="ctr">
            <a:solidFill>
              <a:schemeClr val="bg2"/>
            </a:solidFill>
            <a:prstDash val="solid"/>
            <a:headEnd type="none"/>
            <a:tailEnd type="none"/>
          </a:ln>
          <a:effectLst/>
        </p:spPr>
      </p:cxnSp>
      <p:sp>
        <p:nvSpPr>
          <p:cNvPr id="19" name="Oval 18">
            <a:extLst>
              <a:ext uri="{FF2B5EF4-FFF2-40B4-BE49-F238E27FC236}">
                <a16:creationId xmlns:a16="http://schemas.microsoft.com/office/drawing/2014/main" id="{6ABBC32E-233A-4AAF-8C23-24093848D82D}"/>
              </a:ext>
              <a:ext uri="{C183D7F6-B498-43B3-948B-1728B52AA6E4}">
                <adec:decorative xmlns:adec="http://schemas.microsoft.com/office/drawing/2017/decorative" val="1"/>
              </a:ext>
            </a:extLst>
          </p:cNvPr>
          <p:cNvSpPr/>
          <p:nvPr userDrawn="1"/>
        </p:nvSpPr>
        <p:spPr bwMode="auto">
          <a:xfrm>
            <a:off x="2586824"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0" name="Straight Arrow Connector 19">
            <a:extLst>
              <a:ext uri="{FF2B5EF4-FFF2-40B4-BE49-F238E27FC236}">
                <a16:creationId xmlns:a16="http://schemas.microsoft.com/office/drawing/2014/main" id="{D9CD2C44-267E-41EE-BD98-0FC88AC83D17}"/>
              </a:ext>
              <a:ext uri="{C183D7F6-B498-43B3-948B-1728B52AA6E4}">
                <adec:decorative xmlns:adec="http://schemas.microsoft.com/office/drawing/2017/decorative" val="1"/>
              </a:ext>
            </a:extLst>
          </p:cNvPr>
          <p:cNvCxnSpPr/>
          <p:nvPr userDrawn="1"/>
        </p:nvCxnSpPr>
        <p:spPr>
          <a:xfrm flipV="1">
            <a:off x="583881" y="4632438"/>
            <a:ext cx="8947598" cy="841057"/>
          </a:xfrm>
          <a:prstGeom prst="straightConnector1">
            <a:avLst/>
          </a:prstGeom>
          <a:ln w="19050">
            <a:solidFill>
              <a:schemeClr val="bg2"/>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E6A2523E-DB8F-400E-BE0E-6AD1D98D4623}"/>
              </a:ext>
              <a:ext uri="{C183D7F6-B498-43B3-948B-1728B52AA6E4}">
                <adec:decorative xmlns:adec="http://schemas.microsoft.com/office/drawing/2017/decorative" val="1"/>
              </a:ext>
            </a:extLst>
          </p:cNvPr>
          <p:cNvSpPr/>
          <p:nvPr userDrawn="1"/>
        </p:nvSpPr>
        <p:spPr bwMode="auto">
          <a:xfrm>
            <a:off x="9529746" y="4304376"/>
            <a:ext cx="604005" cy="604005"/>
          </a:xfrm>
          <a:prstGeom prst="ellipse">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2" name="Straight Connector 21">
            <a:extLst>
              <a:ext uri="{FF2B5EF4-FFF2-40B4-BE49-F238E27FC236}">
                <a16:creationId xmlns:a16="http://schemas.microsoft.com/office/drawing/2014/main" id="{14658AA5-3A2F-4634-BDA8-2BEAA95FA277}"/>
              </a:ext>
              <a:ext uri="{C183D7F6-B498-43B3-948B-1728B52AA6E4}">
                <adec:decorative xmlns:adec="http://schemas.microsoft.com/office/drawing/2017/decorative" val="1"/>
              </a:ext>
            </a:extLst>
          </p:cNvPr>
          <p:cNvCxnSpPr/>
          <p:nvPr userDrawn="1"/>
        </p:nvCxnSpPr>
        <p:spPr>
          <a:xfrm>
            <a:off x="6274913" y="5657899"/>
            <a:ext cx="0" cy="365708"/>
          </a:xfrm>
          <a:prstGeom prst="line">
            <a:avLst/>
          </a:prstGeom>
          <a:noFill/>
          <a:ln w="19050" cap="flat" cmpd="sng" algn="ctr">
            <a:solidFill>
              <a:schemeClr val="bg2"/>
            </a:solidFill>
            <a:prstDash val="solid"/>
            <a:headEnd type="none"/>
            <a:tailEnd type="none"/>
          </a:ln>
          <a:effectLst/>
        </p:spPr>
      </p:cxnSp>
      <p:sp>
        <p:nvSpPr>
          <p:cNvPr id="23" name="Oval 22">
            <a:extLst>
              <a:ext uri="{FF2B5EF4-FFF2-40B4-BE49-F238E27FC236}">
                <a16:creationId xmlns:a16="http://schemas.microsoft.com/office/drawing/2014/main" id="{7633269F-9CFB-4C32-A579-121F1BC7FEE3}"/>
              </a:ext>
              <a:ext uri="{C183D7F6-B498-43B3-948B-1728B52AA6E4}">
                <adec:decorative xmlns:adec="http://schemas.microsoft.com/office/drawing/2017/decorative" val="1"/>
              </a:ext>
            </a:extLst>
          </p:cNvPr>
          <p:cNvSpPr/>
          <p:nvPr userDrawn="1"/>
        </p:nvSpPr>
        <p:spPr bwMode="auto">
          <a:xfrm>
            <a:off x="6176240" y="5382067"/>
            <a:ext cx="182854" cy="182854"/>
          </a:xfrm>
          <a:prstGeom prst="ellipse">
            <a:avLst/>
          </a:prstGeom>
          <a:solidFill>
            <a:srgbClr val="0078D7"/>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4" name="Group 23">
            <a:extLst>
              <a:ext uri="{FF2B5EF4-FFF2-40B4-BE49-F238E27FC236}">
                <a16:creationId xmlns:a16="http://schemas.microsoft.com/office/drawing/2014/main" id="{E6BCF4BD-296B-404E-A0DC-A95DC9E7F5B0}"/>
              </a:ext>
              <a:ext uri="{C183D7F6-B498-43B3-948B-1728B52AA6E4}">
                <adec:decorative xmlns:adec="http://schemas.microsoft.com/office/drawing/2017/decorative" val="1"/>
              </a:ext>
            </a:extLst>
          </p:cNvPr>
          <p:cNvGrpSpPr/>
          <p:nvPr userDrawn="1"/>
        </p:nvGrpSpPr>
        <p:grpSpPr>
          <a:xfrm>
            <a:off x="9526335" y="4300526"/>
            <a:ext cx="617942" cy="617942"/>
            <a:chOff x="2750671" y="2758885"/>
            <a:chExt cx="617942" cy="617942"/>
          </a:xfrm>
        </p:grpSpPr>
        <p:sp>
          <p:nvSpPr>
            <p:cNvPr id="25" name="Oval 24">
              <a:extLst>
                <a:ext uri="{FF2B5EF4-FFF2-40B4-BE49-F238E27FC236}">
                  <a16:creationId xmlns:a16="http://schemas.microsoft.com/office/drawing/2014/main" id="{DD46AADA-6133-4A00-92E7-D6C9C6CBBADE}"/>
                </a:ext>
              </a:extLst>
            </p:cNvPr>
            <p:cNvSpPr/>
            <p:nvPr/>
          </p:nvSpPr>
          <p:spPr bwMode="auto">
            <a:xfrm>
              <a:off x="2750671" y="2758885"/>
              <a:ext cx="617942" cy="617942"/>
            </a:xfrm>
            <a:prstGeom prst="ellipse">
              <a:avLst/>
            </a:prstGeom>
            <a:solidFill>
              <a:srgbClr val="000C47"/>
            </a:solidFill>
            <a:ln w="539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26" name="Freeform 5">
              <a:extLst>
                <a:ext uri="{FF2B5EF4-FFF2-40B4-BE49-F238E27FC236}">
                  <a16:creationId xmlns:a16="http://schemas.microsoft.com/office/drawing/2014/main" id="{B049B63A-5A58-429F-B2C4-59E4CFDCE2AE}"/>
                </a:ext>
              </a:extLst>
            </p:cNvPr>
            <p:cNvSpPr>
              <a:spLocks/>
            </p:cNvSpPr>
            <p:nvPr/>
          </p:nvSpPr>
          <p:spPr bwMode="auto">
            <a:xfrm>
              <a:off x="3067502" y="2876550"/>
              <a:ext cx="188647" cy="226922"/>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40" y="0"/>
                    <a:pt x="17" y="22"/>
                    <a:pt x="17" y="49"/>
                  </a:cubicBezTo>
                  <a:cubicBezTo>
                    <a:pt x="17" y="71"/>
                    <a:pt x="31" y="89"/>
                    <a:pt x="50" y="96"/>
                  </a:cubicBezTo>
                  <a:cubicBezTo>
                    <a:pt x="22" y="103"/>
                    <a:pt x="0" y="129"/>
                    <a:pt x="0" y="160"/>
                  </a:cubicBezTo>
                  <a:close/>
                </a:path>
              </a:pathLst>
            </a:custGeom>
            <a:solidFill>
              <a:srgbClr val="6C85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7" name="Freeform 6">
              <a:extLst>
                <a:ext uri="{FF2B5EF4-FFF2-40B4-BE49-F238E27FC236}">
                  <a16:creationId xmlns:a16="http://schemas.microsoft.com/office/drawing/2014/main" id="{BF8376BA-C4E3-4B2E-BE41-ECDB997C4E77}"/>
                </a:ext>
              </a:extLst>
            </p:cNvPr>
            <p:cNvSpPr>
              <a:spLocks/>
            </p:cNvSpPr>
            <p:nvPr/>
          </p:nvSpPr>
          <p:spPr bwMode="auto">
            <a:xfrm>
              <a:off x="2863135" y="2927129"/>
              <a:ext cx="146953" cy="176343"/>
            </a:xfrm>
            <a:custGeom>
              <a:avLst/>
              <a:gdLst>
                <a:gd name="T0" fmla="*/ 0 w 121"/>
                <a:gd name="T1" fmla="*/ 145 h 145"/>
                <a:gd name="T2" fmla="*/ 121 w 121"/>
                <a:gd name="T3" fmla="*/ 145 h 145"/>
                <a:gd name="T4" fmla="*/ 75 w 121"/>
                <a:gd name="T5" fmla="*/ 87 h 145"/>
                <a:gd name="T6" fmla="*/ 105 w 121"/>
                <a:gd name="T7" fmla="*/ 44 h 145"/>
                <a:gd name="T8" fmla="*/ 61 w 121"/>
                <a:gd name="T9" fmla="*/ 0 h 145"/>
                <a:gd name="T10" fmla="*/ 16 w 121"/>
                <a:gd name="T11" fmla="*/ 44 h 145"/>
                <a:gd name="T12" fmla="*/ 46 w 121"/>
                <a:gd name="T13" fmla="*/ 87 h 145"/>
                <a:gd name="T14" fmla="*/ 0 w 121"/>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1" h="145">
                  <a:moveTo>
                    <a:pt x="0" y="145"/>
                  </a:moveTo>
                  <a:cubicBezTo>
                    <a:pt x="121" y="145"/>
                    <a:pt x="121" y="145"/>
                    <a:pt x="121" y="145"/>
                  </a:cubicBezTo>
                  <a:cubicBezTo>
                    <a:pt x="121" y="117"/>
                    <a:pt x="101" y="93"/>
                    <a:pt x="75" y="87"/>
                  </a:cubicBezTo>
                  <a:cubicBezTo>
                    <a:pt x="93" y="81"/>
                    <a:pt x="105" y="64"/>
                    <a:pt x="105" y="44"/>
                  </a:cubicBezTo>
                  <a:cubicBezTo>
                    <a:pt x="105" y="20"/>
                    <a:pt x="85" y="0"/>
                    <a:pt x="61" y="0"/>
                  </a:cubicBezTo>
                  <a:cubicBezTo>
                    <a:pt x="36" y="0"/>
                    <a:pt x="16" y="20"/>
                    <a:pt x="16" y="44"/>
                  </a:cubicBezTo>
                  <a:cubicBezTo>
                    <a:pt x="16" y="64"/>
                    <a:pt x="28" y="81"/>
                    <a:pt x="46" y="87"/>
                  </a:cubicBezTo>
                  <a:cubicBezTo>
                    <a:pt x="20" y="93"/>
                    <a:pt x="0" y="117"/>
                    <a:pt x="0" y="145"/>
                  </a:cubicBezTo>
                  <a:close/>
                </a:path>
              </a:pathLst>
            </a:custGeom>
            <a:solidFill>
              <a:srgbClr val="B6C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sp>
          <p:nvSpPr>
            <p:cNvPr id="28" name="Oval 27">
              <a:extLst>
                <a:ext uri="{FF2B5EF4-FFF2-40B4-BE49-F238E27FC236}">
                  <a16:creationId xmlns:a16="http://schemas.microsoft.com/office/drawing/2014/main" id="{C4EBC8E1-0A42-4AA5-A74A-F89615627A58}"/>
                </a:ext>
              </a:extLst>
            </p:cNvPr>
            <p:cNvSpPr/>
            <p:nvPr/>
          </p:nvSpPr>
          <p:spPr bwMode="auto">
            <a:xfrm>
              <a:off x="2750671" y="2758885"/>
              <a:ext cx="617942" cy="617942"/>
            </a:xfrm>
            <a:prstGeom prst="ellipse">
              <a:avLst/>
            </a:prstGeom>
            <a:noFill/>
            <a:ln w="317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mn-ea"/>
                <a:cs typeface="+mn-cs"/>
              </a:endParaRPr>
            </a:p>
          </p:txBody>
        </p:sp>
        <p:sp>
          <p:nvSpPr>
            <p:cNvPr id="29" name="Freeform 7">
              <a:extLst>
                <a:ext uri="{FF2B5EF4-FFF2-40B4-BE49-F238E27FC236}">
                  <a16:creationId xmlns:a16="http://schemas.microsoft.com/office/drawing/2014/main" id="{73A947A0-7331-47EB-92BC-2B0CB790271C}"/>
                </a:ext>
              </a:extLst>
            </p:cNvPr>
            <p:cNvSpPr>
              <a:spLocks/>
            </p:cNvSpPr>
            <p:nvPr/>
          </p:nvSpPr>
          <p:spPr bwMode="auto">
            <a:xfrm>
              <a:off x="2936270" y="2996163"/>
              <a:ext cx="235125" cy="282969"/>
            </a:xfrm>
            <a:custGeom>
              <a:avLst/>
              <a:gdLst>
                <a:gd name="T0" fmla="*/ 0 w 133"/>
                <a:gd name="T1" fmla="*/ 160 h 160"/>
                <a:gd name="T2" fmla="*/ 133 w 133"/>
                <a:gd name="T3" fmla="*/ 160 h 160"/>
                <a:gd name="T4" fmla="*/ 83 w 133"/>
                <a:gd name="T5" fmla="*/ 96 h 160"/>
                <a:gd name="T6" fmla="*/ 116 w 133"/>
                <a:gd name="T7" fmla="*/ 49 h 160"/>
                <a:gd name="T8" fmla="*/ 67 w 133"/>
                <a:gd name="T9" fmla="*/ 0 h 160"/>
                <a:gd name="T10" fmla="*/ 17 w 133"/>
                <a:gd name="T11" fmla="*/ 49 h 160"/>
                <a:gd name="T12" fmla="*/ 50 w 133"/>
                <a:gd name="T13" fmla="*/ 96 h 160"/>
                <a:gd name="T14" fmla="*/ 0 w 133"/>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160">
                  <a:moveTo>
                    <a:pt x="0" y="160"/>
                  </a:moveTo>
                  <a:cubicBezTo>
                    <a:pt x="133" y="160"/>
                    <a:pt x="133" y="160"/>
                    <a:pt x="133" y="160"/>
                  </a:cubicBezTo>
                  <a:cubicBezTo>
                    <a:pt x="133" y="129"/>
                    <a:pt x="112" y="103"/>
                    <a:pt x="83" y="96"/>
                  </a:cubicBezTo>
                  <a:cubicBezTo>
                    <a:pt x="102" y="89"/>
                    <a:pt x="116" y="71"/>
                    <a:pt x="116" y="49"/>
                  </a:cubicBezTo>
                  <a:cubicBezTo>
                    <a:pt x="116" y="22"/>
                    <a:pt x="94" y="0"/>
                    <a:pt x="67" y="0"/>
                  </a:cubicBezTo>
                  <a:cubicBezTo>
                    <a:pt x="39" y="0"/>
                    <a:pt x="17" y="22"/>
                    <a:pt x="17" y="49"/>
                  </a:cubicBezTo>
                  <a:cubicBezTo>
                    <a:pt x="17" y="71"/>
                    <a:pt x="31" y="89"/>
                    <a:pt x="50" y="96"/>
                  </a:cubicBezTo>
                  <a:cubicBezTo>
                    <a:pt x="21" y="103"/>
                    <a:pt x="0" y="129"/>
                    <a:pt x="0" y="160"/>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panose="020B0502040204020203" pitchFamily="34" charset="0"/>
                <a:ea typeface="+mn-ea"/>
                <a:cs typeface="+mn-cs"/>
              </a:endParaRPr>
            </a:p>
          </p:txBody>
        </p:sp>
      </p:grpSp>
      <p:grpSp>
        <p:nvGrpSpPr>
          <p:cNvPr id="30" name="Group 29" descr="Icon of a person with one arm" title="One Arm">
            <a:extLst>
              <a:ext uri="{FF2B5EF4-FFF2-40B4-BE49-F238E27FC236}">
                <a16:creationId xmlns:a16="http://schemas.microsoft.com/office/drawing/2014/main" id="{D1AE60BE-1407-4D68-9AD0-0703C560698E}"/>
              </a:ext>
            </a:extLst>
          </p:cNvPr>
          <p:cNvGrpSpPr>
            <a:grpSpLocks noChangeAspect="1"/>
          </p:cNvGrpSpPr>
          <p:nvPr userDrawn="1"/>
        </p:nvGrpSpPr>
        <p:grpSpPr>
          <a:xfrm>
            <a:off x="1472381" y="5694330"/>
            <a:ext cx="371735" cy="914400"/>
            <a:chOff x="2460424" y="1681878"/>
            <a:chExt cx="927100" cy="2277610"/>
          </a:xfrm>
          <a:solidFill>
            <a:schemeClr val="bg1"/>
          </a:solidFill>
        </p:grpSpPr>
        <p:sp>
          <p:nvSpPr>
            <p:cNvPr id="31" name="object 11">
              <a:extLst>
                <a:ext uri="{FF2B5EF4-FFF2-40B4-BE49-F238E27FC236}">
                  <a16:creationId xmlns:a16="http://schemas.microsoft.com/office/drawing/2014/main" id="{4F69F728-6C07-497D-A926-30EA5D21850D}"/>
                </a:ext>
              </a:extLst>
            </p:cNvPr>
            <p:cNvSpPr/>
            <p:nvPr/>
          </p:nvSpPr>
          <p:spPr>
            <a:xfrm>
              <a:off x="2460424" y="1681878"/>
              <a:ext cx="927100" cy="1621791"/>
            </a:xfrm>
            <a:custGeom>
              <a:avLst/>
              <a:gdLst/>
              <a:ahLst/>
              <a:cxnLst/>
              <a:rect l="l" t="t" r="r" b="b"/>
              <a:pathLst>
                <a:path w="927100" h="1621789">
                  <a:moveTo>
                    <a:pt x="482531" y="0"/>
                  </a:moveTo>
                  <a:lnTo>
                    <a:pt x="434669" y="2467"/>
                  </a:lnTo>
                  <a:lnTo>
                    <a:pt x="388551" y="10502"/>
                  </a:lnTo>
                  <a:lnTo>
                    <a:pt x="344514" y="23781"/>
                  </a:lnTo>
                  <a:lnTo>
                    <a:pt x="302898" y="41980"/>
                  </a:lnTo>
                  <a:lnTo>
                    <a:pt x="264039" y="64775"/>
                  </a:lnTo>
                  <a:lnTo>
                    <a:pt x="228276" y="91841"/>
                  </a:lnTo>
                  <a:lnTo>
                    <a:pt x="195947" y="122855"/>
                  </a:lnTo>
                  <a:lnTo>
                    <a:pt x="167389" y="157492"/>
                  </a:lnTo>
                  <a:lnTo>
                    <a:pt x="142942" y="195428"/>
                  </a:lnTo>
                  <a:lnTo>
                    <a:pt x="122942" y="236340"/>
                  </a:lnTo>
                  <a:lnTo>
                    <a:pt x="107728" y="279903"/>
                  </a:lnTo>
                  <a:lnTo>
                    <a:pt x="97638" y="325792"/>
                  </a:lnTo>
                  <a:lnTo>
                    <a:pt x="93010" y="373684"/>
                  </a:lnTo>
                  <a:lnTo>
                    <a:pt x="90632" y="412950"/>
                  </a:lnTo>
                  <a:lnTo>
                    <a:pt x="83280" y="434870"/>
                  </a:lnTo>
                  <a:lnTo>
                    <a:pt x="65047" y="447394"/>
                  </a:lnTo>
                  <a:lnTo>
                    <a:pt x="30030" y="458469"/>
                  </a:lnTo>
                  <a:lnTo>
                    <a:pt x="30667" y="509689"/>
                  </a:lnTo>
                  <a:lnTo>
                    <a:pt x="42062" y="558022"/>
                  </a:lnTo>
                  <a:lnTo>
                    <a:pt x="63115" y="601956"/>
                  </a:lnTo>
                  <a:lnTo>
                    <a:pt x="92685" y="639814"/>
                  </a:lnTo>
                  <a:lnTo>
                    <a:pt x="129643" y="669958"/>
                  </a:lnTo>
                  <a:lnTo>
                    <a:pt x="172859" y="690751"/>
                  </a:lnTo>
                  <a:lnTo>
                    <a:pt x="221203" y="700557"/>
                  </a:lnTo>
                  <a:lnTo>
                    <a:pt x="253925" y="707931"/>
                  </a:lnTo>
                  <a:lnTo>
                    <a:pt x="281274" y="722510"/>
                  </a:lnTo>
                  <a:lnTo>
                    <a:pt x="333649" y="760590"/>
                  </a:lnTo>
                  <a:lnTo>
                    <a:pt x="305608" y="773226"/>
                  </a:lnTo>
                  <a:lnTo>
                    <a:pt x="256917" y="796978"/>
                  </a:lnTo>
                  <a:lnTo>
                    <a:pt x="212210" y="823630"/>
                  </a:lnTo>
                  <a:lnTo>
                    <a:pt x="171572" y="853215"/>
                  </a:lnTo>
                  <a:lnTo>
                    <a:pt x="135091" y="885765"/>
                  </a:lnTo>
                  <a:lnTo>
                    <a:pt x="102854" y="921313"/>
                  </a:lnTo>
                  <a:lnTo>
                    <a:pt x="74950" y="959892"/>
                  </a:lnTo>
                  <a:lnTo>
                    <a:pt x="51464" y="1001535"/>
                  </a:lnTo>
                  <a:lnTo>
                    <a:pt x="32485" y="1046275"/>
                  </a:lnTo>
                  <a:lnTo>
                    <a:pt x="18100" y="1094144"/>
                  </a:lnTo>
                  <a:lnTo>
                    <a:pt x="8397" y="1145175"/>
                  </a:lnTo>
                  <a:lnTo>
                    <a:pt x="3462" y="1199400"/>
                  </a:lnTo>
                  <a:lnTo>
                    <a:pt x="1616" y="1249884"/>
                  </a:lnTo>
                  <a:lnTo>
                    <a:pt x="533" y="1300403"/>
                  </a:lnTo>
                  <a:lnTo>
                    <a:pt x="49" y="1350949"/>
                  </a:lnTo>
                  <a:lnTo>
                    <a:pt x="0" y="1401514"/>
                  </a:lnTo>
                  <a:lnTo>
                    <a:pt x="221" y="1452092"/>
                  </a:lnTo>
                  <a:lnTo>
                    <a:pt x="549" y="1502674"/>
                  </a:lnTo>
                  <a:lnTo>
                    <a:pt x="820" y="1553252"/>
                  </a:lnTo>
                  <a:lnTo>
                    <a:pt x="858" y="1610017"/>
                  </a:lnTo>
                  <a:lnTo>
                    <a:pt x="3944" y="1616227"/>
                  </a:lnTo>
                  <a:lnTo>
                    <a:pt x="5341" y="1621523"/>
                  </a:lnTo>
                  <a:lnTo>
                    <a:pt x="56688" y="1621523"/>
                  </a:lnTo>
                  <a:lnTo>
                    <a:pt x="56581" y="1553252"/>
                  </a:lnTo>
                  <a:lnTo>
                    <a:pt x="56444" y="1502674"/>
                  </a:lnTo>
                  <a:lnTo>
                    <a:pt x="56436" y="1350949"/>
                  </a:lnTo>
                  <a:lnTo>
                    <a:pt x="56692" y="1310120"/>
                  </a:lnTo>
                  <a:lnTo>
                    <a:pt x="57323" y="1258760"/>
                  </a:lnTo>
                  <a:lnTo>
                    <a:pt x="60615" y="1188058"/>
                  </a:lnTo>
                  <a:lnTo>
                    <a:pt x="71470" y="1118527"/>
                  </a:lnTo>
                  <a:lnTo>
                    <a:pt x="84858" y="1072886"/>
                  </a:lnTo>
                  <a:lnTo>
                    <a:pt x="102467" y="1030417"/>
                  </a:lnTo>
                  <a:lnTo>
                    <a:pt x="124286" y="991081"/>
                  </a:lnTo>
                  <a:lnTo>
                    <a:pt x="150306" y="954839"/>
                  </a:lnTo>
                  <a:lnTo>
                    <a:pt x="180513" y="921655"/>
                  </a:lnTo>
                  <a:lnTo>
                    <a:pt x="214899" y="891488"/>
                  </a:lnTo>
                  <a:lnTo>
                    <a:pt x="253451" y="864300"/>
                  </a:lnTo>
                  <a:lnTo>
                    <a:pt x="296159" y="840054"/>
                  </a:lnTo>
                  <a:lnTo>
                    <a:pt x="356966" y="840054"/>
                  </a:lnTo>
                  <a:lnTo>
                    <a:pt x="355943" y="832964"/>
                  </a:lnTo>
                  <a:lnTo>
                    <a:pt x="358286" y="821967"/>
                  </a:lnTo>
                  <a:lnTo>
                    <a:pt x="365922" y="814407"/>
                  </a:lnTo>
                  <a:lnTo>
                    <a:pt x="379712" y="810234"/>
                  </a:lnTo>
                  <a:lnTo>
                    <a:pt x="475318" y="796289"/>
                  </a:lnTo>
                  <a:lnTo>
                    <a:pt x="697601" y="796289"/>
                  </a:lnTo>
                  <a:lnTo>
                    <a:pt x="673647" y="784351"/>
                  </a:lnTo>
                  <a:lnTo>
                    <a:pt x="621571" y="759561"/>
                  </a:lnTo>
                  <a:lnTo>
                    <a:pt x="648831" y="739600"/>
                  </a:lnTo>
                  <a:lnTo>
                    <a:pt x="653878" y="736104"/>
                  </a:lnTo>
                  <a:lnTo>
                    <a:pt x="473756" y="736104"/>
                  </a:lnTo>
                  <a:lnTo>
                    <a:pt x="426401" y="730824"/>
                  </a:lnTo>
                  <a:lnTo>
                    <a:pt x="381928" y="716710"/>
                  </a:lnTo>
                  <a:lnTo>
                    <a:pt x="341413" y="694796"/>
                  </a:lnTo>
                  <a:lnTo>
                    <a:pt x="305936" y="666114"/>
                  </a:lnTo>
                  <a:lnTo>
                    <a:pt x="279089" y="634644"/>
                  </a:lnTo>
                  <a:lnTo>
                    <a:pt x="201074" y="634644"/>
                  </a:lnTo>
                  <a:lnTo>
                    <a:pt x="164435" y="622398"/>
                  </a:lnTo>
                  <a:lnTo>
                    <a:pt x="128174" y="594229"/>
                  </a:lnTo>
                  <a:lnTo>
                    <a:pt x="100274" y="557131"/>
                  </a:lnTo>
                  <a:lnTo>
                    <a:pt x="88717" y="518096"/>
                  </a:lnTo>
                  <a:lnTo>
                    <a:pt x="88590" y="511505"/>
                  </a:lnTo>
                  <a:lnTo>
                    <a:pt x="92933" y="501599"/>
                  </a:lnTo>
                  <a:lnTo>
                    <a:pt x="98242" y="498601"/>
                  </a:lnTo>
                  <a:lnTo>
                    <a:pt x="125456" y="476128"/>
                  </a:lnTo>
                  <a:lnTo>
                    <a:pt x="140589" y="448552"/>
                  </a:lnTo>
                  <a:lnTo>
                    <a:pt x="147346" y="417207"/>
                  </a:lnTo>
                  <a:lnTo>
                    <a:pt x="149436" y="383425"/>
                  </a:lnTo>
                  <a:lnTo>
                    <a:pt x="153940" y="336348"/>
                  </a:lnTo>
                  <a:lnTo>
                    <a:pt x="164443" y="291302"/>
                  </a:lnTo>
                  <a:lnTo>
                    <a:pt x="180574" y="248774"/>
                  </a:lnTo>
                  <a:lnTo>
                    <a:pt x="201961" y="209253"/>
                  </a:lnTo>
                  <a:lnTo>
                    <a:pt x="228231" y="173227"/>
                  </a:lnTo>
                  <a:lnTo>
                    <a:pt x="259047" y="141156"/>
                  </a:lnTo>
                  <a:lnTo>
                    <a:pt x="293935" y="113609"/>
                  </a:lnTo>
                  <a:lnTo>
                    <a:pt x="332624" y="90994"/>
                  </a:lnTo>
                  <a:lnTo>
                    <a:pt x="374708" y="73825"/>
                  </a:lnTo>
                  <a:lnTo>
                    <a:pt x="419097" y="62542"/>
                  </a:lnTo>
                  <a:lnTo>
                    <a:pt x="463232" y="57511"/>
                  </a:lnTo>
                  <a:lnTo>
                    <a:pt x="679776" y="57511"/>
                  </a:lnTo>
                  <a:lnTo>
                    <a:pt x="660372" y="45525"/>
                  </a:lnTo>
                  <a:lnTo>
                    <a:pt x="619266" y="26435"/>
                  </a:lnTo>
                  <a:lnTo>
                    <a:pt x="575698" y="12258"/>
                  </a:lnTo>
                  <a:lnTo>
                    <a:pt x="530007" y="3333"/>
                  </a:lnTo>
                  <a:lnTo>
                    <a:pt x="482531" y="0"/>
                  </a:lnTo>
                  <a:close/>
                </a:path>
                <a:path w="927100" h="1621789">
                  <a:moveTo>
                    <a:pt x="356966" y="840054"/>
                  </a:moveTo>
                  <a:lnTo>
                    <a:pt x="296159" y="840054"/>
                  </a:lnTo>
                  <a:lnTo>
                    <a:pt x="314424" y="893322"/>
                  </a:lnTo>
                  <a:lnTo>
                    <a:pt x="340977" y="936678"/>
                  </a:lnTo>
                  <a:lnTo>
                    <a:pt x="376175" y="969117"/>
                  </a:lnTo>
                  <a:lnTo>
                    <a:pt x="420379" y="989631"/>
                  </a:lnTo>
                  <a:lnTo>
                    <a:pt x="473946" y="997216"/>
                  </a:lnTo>
                  <a:lnTo>
                    <a:pt x="520870" y="992716"/>
                  </a:lnTo>
                  <a:lnTo>
                    <a:pt x="560867" y="978359"/>
                  </a:lnTo>
                  <a:lnTo>
                    <a:pt x="594331" y="954839"/>
                  </a:lnTo>
                  <a:lnTo>
                    <a:pt x="606463" y="940638"/>
                  </a:lnTo>
                  <a:lnTo>
                    <a:pt x="475254" y="940638"/>
                  </a:lnTo>
                  <a:lnTo>
                    <a:pt x="435014" y="933418"/>
                  </a:lnTo>
                  <a:lnTo>
                    <a:pt x="400489" y="914020"/>
                  </a:lnTo>
                  <a:lnTo>
                    <a:pt x="374041" y="884632"/>
                  </a:lnTo>
                  <a:lnTo>
                    <a:pt x="358033" y="847445"/>
                  </a:lnTo>
                  <a:lnTo>
                    <a:pt x="356966" y="840054"/>
                  </a:lnTo>
                  <a:close/>
                </a:path>
                <a:path w="927100" h="1621789">
                  <a:moveTo>
                    <a:pt x="697601" y="796289"/>
                  </a:moveTo>
                  <a:lnTo>
                    <a:pt x="475318" y="796289"/>
                  </a:lnTo>
                  <a:lnTo>
                    <a:pt x="571736" y="809675"/>
                  </a:lnTo>
                  <a:lnTo>
                    <a:pt x="586979" y="814306"/>
                  </a:lnTo>
                  <a:lnTo>
                    <a:pt x="595080" y="822839"/>
                  </a:lnTo>
                  <a:lnTo>
                    <a:pt x="597287" y="834868"/>
                  </a:lnTo>
                  <a:lnTo>
                    <a:pt x="594850" y="849985"/>
                  </a:lnTo>
                  <a:lnTo>
                    <a:pt x="578149" y="886529"/>
                  </a:lnTo>
                  <a:lnTo>
                    <a:pt x="550768" y="915338"/>
                  </a:lnTo>
                  <a:lnTo>
                    <a:pt x="515529" y="934133"/>
                  </a:lnTo>
                  <a:lnTo>
                    <a:pt x="475254" y="940638"/>
                  </a:lnTo>
                  <a:lnTo>
                    <a:pt x="606463" y="940638"/>
                  </a:lnTo>
                  <a:lnTo>
                    <a:pt x="621535" y="922996"/>
                  </a:lnTo>
                  <a:lnTo>
                    <a:pt x="642933" y="883454"/>
                  </a:lnTo>
                  <a:lnTo>
                    <a:pt x="658858" y="836980"/>
                  </a:lnTo>
                  <a:lnTo>
                    <a:pt x="760825" y="836980"/>
                  </a:lnTo>
                  <a:lnTo>
                    <a:pt x="744173" y="824720"/>
                  </a:lnTo>
                  <a:lnTo>
                    <a:pt x="721533" y="809751"/>
                  </a:lnTo>
                  <a:lnTo>
                    <a:pt x="698134" y="796555"/>
                  </a:lnTo>
                  <a:lnTo>
                    <a:pt x="697601" y="796289"/>
                  </a:lnTo>
                  <a:close/>
                </a:path>
                <a:path w="927100" h="1621789">
                  <a:moveTo>
                    <a:pt x="760825" y="836980"/>
                  </a:moveTo>
                  <a:lnTo>
                    <a:pt x="658858" y="836980"/>
                  </a:lnTo>
                  <a:lnTo>
                    <a:pt x="771774" y="915390"/>
                  </a:lnTo>
                  <a:lnTo>
                    <a:pt x="817087" y="879716"/>
                  </a:lnTo>
                  <a:lnTo>
                    <a:pt x="790782" y="859790"/>
                  </a:lnTo>
                  <a:lnTo>
                    <a:pt x="766867" y="841428"/>
                  </a:lnTo>
                  <a:lnTo>
                    <a:pt x="760825" y="836980"/>
                  </a:lnTo>
                  <a:close/>
                </a:path>
                <a:path w="927100" h="1621789">
                  <a:moveTo>
                    <a:pt x="550827" y="323964"/>
                  </a:moveTo>
                  <a:lnTo>
                    <a:pt x="471939" y="323964"/>
                  </a:lnTo>
                  <a:lnTo>
                    <a:pt x="499216" y="352405"/>
                  </a:lnTo>
                  <a:lnTo>
                    <a:pt x="525757" y="380657"/>
                  </a:lnTo>
                  <a:lnTo>
                    <a:pt x="581756" y="431101"/>
                  </a:lnTo>
                  <a:lnTo>
                    <a:pt x="634695" y="457749"/>
                  </a:lnTo>
                  <a:lnTo>
                    <a:pt x="692577" y="476376"/>
                  </a:lnTo>
                  <a:lnTo>
                    <a:pt x="704648" y="481340"/>
                  </a:lnTo>
                  <a:lnTo>
                    <a:pt x="712463" y="487837"/>
                  </a:lnTo>
                  <a:lnTo>
                    <a:pt x="716571" y="496931"/>
                  </a:lnTo>
                  <a:lnTo>
                    <a:pt x="717519" y="509689"/>
                  </a:lnTo>
                  <a:lnTo>
                    <a:pt x="711278" y="555168"/>
                  </a:lnTo>
                  <a:lnTo>
                    <a:pt x="696037" y="597708"/>
                  </a:lnTo>
                  <a:lnTo>
                    <a:pt x="672835" y="636326"/>
                  </a:lnTo>
                  <a:lnTo>
                    <a:pt x="642710" y="670036"/>
                  </a:lnTo>
                  <a:lnTo>
                    <a:pt x="606701" y="697853"/>
                  </a:lnTo>
                  <a:lnTo>
                    <a:pt x="565847" y="718793"/>
                  </a:lnTo>
                  <a:lnTo>
                    <a:pt x="521185" y="731872"/>
                  </a:lnTo>
                  <a:lnTo>
                    <a:pt x="473756" y="736104"/>
                  </a:lnTo>
                  <a:lnTo>
                    <a:pt x="653878" y="736104"/>
                  </a:lnTo>
                  <a:lnTo>
                    <a:pt x="675354" y="721229"/>
                  </a:lnTo>
                  <a:lnTo>
                    <a:pt x="704151" y="707112"/>
                  </a:lnTo>
                  <a:lnTo>
                    <a:pt x="738233" y="699909"/>
                  </a:lnTo>
                  <a:lnTo>
                    <a:pt x="780958" y="691513"/>
                  </a:lnTo>
                  <a:lnTo>
                    <a:pt x="819983" y="673984"/>
                  </a:lnTo>
                  <a:lnTo>
                    <a:pt x="854369" y="648735"/>
                  </a:lnTo>
                  <a:lnTo>
                    <a:pt x="865623" y="636409"/>
                  </a:lnTo>
                  <a:lnTo>
                    <a:pt x="751517" y="636409"/>
                  </a:lnTo>
                  <a:lnTo>
                    <a:pt x="781654" y="429602"/>
                  </a:lnTo>
                  <a:lnTo>
                    <a:pt x="729331" y="425051"/>
                  </a:lnTo>
                  <a:lnTo>
                    <a:pt x="682346" y="415118"/>
                  </a:lnTo>
                  <a:lnTo>
                    <a:pt x="640691" y="399723"/>
                  </a:lnTo>
                  <a:lnTo>
                    <a:pt x="604360" y="378785"/>
                  </a:lnTo>
                  <a:lnTo>
                    <a:pt x="573343" y="352223"/>
                  </a:lnTo>
                  <a:lnTo>
                    <a:pt x="550827" y="323964"/>
                  </a:lnTo>
                  <a:close/>
                </a:path>
                <a:path w="927100" h="1621789">
                  <a:moveTo>
                    <a:pt x="679776" y="57511"/>
                  </a:moveTo>
                  <a:lnTo>
                    <a:pt x="463232" y="57511"/>
                  </a:lnTo>
                  <a:lnTo>
                    <a:pt x="506656" y="58422"/>
                  </a:lnTo>
                  <a:lnTo>
                    <a:pt x="548910" y="64960"/>
                  </a:lnTo>
                  <a:lnTo>
                    <a:pt x="589536" y="76815"/>
                  </a:lnTo>
                  <a:lnTo>
                    <a:pt x="628074" y="93674"/>
                  </a:lnTo>
                  <a:lnTo>
                    <a:pt x="664067" y="115225"/>
                  </a:lnTo>
                  <a:lnTo>
                    <a:pt x="697081" y="141183"/>
                  </a:lnTo>
                  <a:lnTo>
                    <a:pt x="726580" y="171154"/>
                  </a:lnTo>
                  <a:lnTo>
                    <a:pt x="752185" y="204907"/>
                  </a:lnTo>
                  <a:lnTo>
                    <a:pt x="773409" y="242104"/>
                  </a:lnTo>
                  <a:lnTo>
                    <a:pt x="789795" y="282432"/>
                  </a:lnTo>
                  <a:lnTo>
                    <a:pt x="800883" y="325579"/>
                  </a:lnTo>
                  <a:lnTo>
                    <a:pt x="806216" y="371233"/>
                  </a:lnTo>
                  <a:lnTo>
                    <a:pt x="808289" y="408923"/>
                  </a:lnTo>
                  <a:lnTo>
                    <a:pt x="814457" y="444393"/>
                  </a:lnTo>
                  <a:lnTo>
                    <a:pt x="830271" y="475655"/>
                  </a:lnTo>
                  <a:lnTo>
                    <a:pt x="861283" y="500722"/>
                  </a:lnTo>
                  <a:lnTo>
                    <a:pt x="865538" y="502958"/>
                  </a:lnTo>
                  <a:lnTo>
                    <a:pt x="868297" y="511505"/>
                  </a:lnTo>
                  <a:lnTo>
                    <a:pt x="856618" y="556737"/>
                  </a:lnTo>
                  <a:lnTo>
                    <a:pt x="827766" y="594380"/>
                  </a:lnTo>
                  <a:lnTo>
                    <a:pt x="789997" y="623339"/>
                  </a:lnTo>
                  <a:lnTo>
                    <a:pt x="751517" y="636409"/>
                  </a:lnTo>
                  <a:lnTo>
                    <a:pt x="865623" y="636409"/>
                  </a:lnTo>
                  <a:lnTo>
                    <a:pt x="883178" y="617181"/>
                  </a:lnTo>
                  <a:lnTo>
                    <a:pt x="905472" y="580736"/>
                  </a:lnTo>
                  <a:lnTo>
                    <a:pt x="920313" y="540814"/>
                  </a:lnTo>
                  <a:lnTo>
                    <a:pt x="926762" y="498830"/>
                  </a:lnTo>
                  <a:lnTo>
                    <a:pt x="923882" y="456196"/>
                  </a:lnTo>
                  <a:lnTo>
                    <a:pt x="890558" y="448586"/>
                  </a:lnTo>
                  <a:lnTo>
                    <a:pt x="872824" y="437918"/>
                  </a:lnTo>
                  <a:lnTo>
                    <a:pt x="865592" y="417949"/>
                  </a:lnTo>
                  <a:lnTo>
                    <a:pt x="863773" y="382435"/>
                  </a:lnTo>
                  <a:lnTo>
                    <a:pt x="860037" y="334395"/>
                  </a:lnTo>
                  <a:lnTo>
                    <a:pt x="850796" y="288216"/>
                  </a:lnTo>
                  <a:lnTo>
                    <a:pt x="836388" y="244235"/>
                  </a:lnTo>
                  <a:lnTo>
                    <a:pt x="817151" y="202793"/>
                  </a:lnTo>
                  <a:lnTo>
                    <a:pt x="793423" y="164227"/>
                  </a:lnTo>
                  <a:lnTo>
                    <a:pt x="765543" y="128879"/>
                  </a:lnTo>
                  <a:lnTo>
                    <a:pt x="733849" y="97086"/>
                  </a:lnTo>
                  <a:lnTo>
                    <a:pt x="698680" y="69188"/>
                  </a:lnTo>
                  <a:lnTo>
                    <a:pt x="679776" y="57511"/>
                  </a:lnTo>
                  <a:close/>
                </a:path>
                <a:path w="927100" h="1621789">
                  <a:moveTo>
                    <a:pt x="502267" y="188112"/>
                  </a:moveTo>
                  <a:lnTo>
                    <a:pt x="450197" y="188112"/>
                  </a:lnTo>
                  <a:lnTo>
                    <a:pt x="440676" y="237831"/>
                  </a:lnTo>
                  <a:lnTo>
                    <a:pt x="425810" y="281658"/>
                  </a:lnTo>
                  <a:lnTo>
                    <a:pt x="405578" y="319664"/>
                  </a:lnTo>
                  <a:lnTo>
                    <a:pt x="379963" y="351921"/>
                  </a:lnTo>
                  <a:lnTo>
                    <a:pt x="348946" y="378498"/>
                  </a:lnTo>
                  <a:lnTo>
                    <a:pt x="312507" y="399468"/>
                  </a:lnTo>
                  <a:lnTo>
                    <a:pt x="270629" y="414901"/>
                  </a:lnTo>
                  <a:lnTo>
                    <a:pt x="223293" y="424867"/>
                  </a:lnTo>
                  <a:lnTo>
                    <a:pt x="170480" y="429437"/>
                  </a:lnTo>
                  <a:lnTo>
                    <a:pt x="201074" y="634644"/>
                  </a:lnTo>
                  <a:lnTo>
                    <a:pt x="279089" y="634644"/>
                  </a:lnTo>
                  <a:lnTo>
                    <a:pt x="276576" y="631699"/>
                  </a:lnTo>
                  <a:lnTo>
                    <a:pt x="254412" y="592583"/>
                  </a:lnTo>
                  <a:lnTo>
                    <a:pt x="240522" y="549799"/>
                  </a:lnTo>
                  <a:lnTo>
                    <a:pt x="235986" y="504380"/>
                  </a:lnTo>
                  <a:lnTo>
                    <a:pt x="237310" y="497167"/>
                  </a:lnTo>
                  <a:lnTo>
                    <a:pt x="240572" y="489462"/>
                  </a:lnTo>
                  <a:lnTo>
                    <a:pt x="244914" y="483165"/>
                  </a:lnTo>
                  <a:lnTo>
                    <a:pt x="249474" y="480174"/>
                  </a:lnTo>
                  <a:lnTo>
                    <a:pt x="297770" y="468713"/>
                  </a:lnTo>
                  <a:lnTo>
                    <a:pt x="341420" y="450924"/>
                  </a:lnTo>
                  <a:lnTo>
                    <a:pt x="380542" y="427181"/>
                  </a:lnTo>
                  <a:lnTo>
                    <a:pt x="415257" y="397858"/>
                  </a:lnTo>
                  <a:lnTo>
                    <a:pt x="445682" y="363328"/>
                  </a:lnTo>
                  <a:lnTo>
                    <a:pt x="471939" y="323964"/>
                  </a:lnTo>
                  <a:lnTo>
                    <a:pt x="550827" y="323964"/>
                  </a:lnTo>
                  <a:lnTo>
                    <a:pt x="547633" y="319955"/>
                  </a:lnTo>
                  <a:lnTo>
                    <a:pt x="527222" y="281902"/>
                  </a:lnTo>
                  <a:lnTo>
                    <a:pt x="512103" y="237981"/>
                  </a:lnTo>
                  <a:lnTo>
                    <a:pt x="502267" y="188112"/>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2" name="object 12">
              <a:extLst>
                <a:ext uri="{FF2B5EF4-FFF2-40B4-BE49-F238E27FC236}">
                  <a16:creationId xmlns:a16="http://schemas.microsoft.com/office/drawing/2014/main" id="{2816B4E6-CB96-4D76-8589-E686E17AB0C3}"/>
                </a:ext>
              </a:extLst>
            </p:cNvPr>
            <p:cNvSpPr/>
            <p:nvPr/>
          </p:nvSpPr>
          <p:spPr>
            <a:xfrm>
              <a:off x="2590272" y="2775848"/>
              <a:ext cx="695325" cy="1183640"/>
            </a:xfrm>
            <a:custGeom>
              <a:avLst/>
              <a:gdLst/>
              <a:ahLst/>
              <a:cxnLst/>
              <a:rect l="l" t="t" r="r" b="b"/>
              <a:pathLst>
                <a:path w="695325" h="1183639">
                  <a:moveTo>
                    <a:pt x="678178" y="689073"/>
                  </a:moveTo>
                  <a:lnTo>
                    <a:pt x="187617" y="689073"/>
                  </a:lnTo>
                  <a:lnTo>
                    <a:pt x="511098" y="689911"/>
                  </a:lnTo>
                  <a:lnTo>
                    <a:pt x="517769" y="690419"/>
                  </a:lnTo>
                  <a:lnTo>
                    <a:pt x="524867" y="691692"/>
                  </a:lnTo>
                  <a:lnTo>
                    <a:pt x="532824" y="693408"/>
                  </a:lnTo>
                  <a:lnTo>
                    <a:pt x="542074" y="695245"/>
                  </a:lnTo>
                  <a:lnTo>
                    <a:pt x="542074" y="1183471"/>
                  </a:lnTo>
                  <a:lnTo>
                    <a:pt x="597090" y="1183471"/>
                  </a:lnTo>
                  <a:lnTo>
                    <a:pt x="597090" y="768892"/>
                  </a:lnTo>
                  <a:lnTo>
                    <a:pt x="598251" y="724903"/>
                  </a:lnTo>
                  <a:lnTo>
                    <a:pt x="606377" y="701979"/>
                  </a:lnTo>
                  <a:lnTo>
                    <a:pt x="628433" y="692661"/>
                  </a:lnTo>
                  <a:lnTo>
                    <a:pt x="671385" y="689492"/>
                  </a:lnTo>
                  <a:lnTo>
                    <a:pt x="677646" y="689200"/>
                  </a:lnTo>
                  <a:lnTo>
                    <a:pt x="678178" y="689073"/>
                  </a:lnTo>
                  <a:close/>
                </a:path>
                <a:path w="695325" h="1183639">
                  <a:moveTo>
                    <a:pt x="186770" y="689160"/>
                  </a:moveTo>
                  <a:lnTo>
                    <a:pt x="71147" y="689160"/>
                  </a:lnTo>
                  <a:lnTo>
                    <a:pt x="86226" y="697377"/>
                  </a:lnTo>
                  <a:lnTo>
                    <a:pt x="93752" y="713887"/>
                  </a:lnTo>
                  <a:lnTo>
                    <a:pt x="95529" y="738590"/>
                  </a:lnTo>
                  <a:lnTo>
                    <a:pt x="94827" y="788618"/>
                  </a:lnTo>
                  <a:lnTo>
                    <a:pt x="94415" y="838651"/>
                  </a:lnTo>
                  <a:lnTo>
                    <a:pt x="94312" y="988769"/>
                  </a:lnTo>
                  <a:lnTo>
                    <a:pt x="94583" y="1088853"/>
                  </a:lnTo>
                  <a:lnTo>
                    <a:pt x="94640" y="1182772"/>
                  </a:lnTo>
                  <a:lnTo>
                    <a:pt x="151879" y="1182772"/>
                  </a:lnTo>
                  <a:lnTo>
                    <a:pt x="151922" y="828808"/>
                  </a:lnTo>
                  <a:lnTo>
                    <a:pt x="151762" y="788618"/>
                  </a:lnTo>
                  <a:lnTo>
                    <a:pt x="151660" y="768892"/>
                  </a:lnTo>
                  <a:lnTo>
                    <a:pt x="151384" y="726715"/>
                  </a:lnTo>
                  <a:lnTo>
                    <a:pt x="152864" y="709213"/>
                  </a:lnTo>
                  <a:lnTo>
                    <a:pt x="158513" y="697469"/>
                  </a:lnTo>
                  <a:lnTo>
                    <a:pt x="169655" y="690938"/>
                  </a:lnTo>
                  <a:lnTo>
                    <a:pt x="186770" y="689160"/>
                  </a:lnTo>
                  <a:close/>
                </a:path>
                <a:path w="695325" h="1183639">
                  <a:moveTo>
                    <a:pt x="115918" y="0"/>
                  </a:moveTo>
                  <a:lnTo>
                    <a:pt x="100441" y="3060"/>
                  </a:lnTo>
                  <a:lnTo>
                    <a:pt x="94826" y="16526"/>
                  </a:lnTo>
                  <a:lnTo>
                    <a:pt x="95034" y="44116"/>
                  </a:lnTo>
                  <a:lnTo>
                    <a:pt x="96792" y="93655"/>
                  </a:lnTo>
                  <a:lnTo>
                    <a:pt x="97127" y="143007"/>
                  </a:lnTo>
                  <a:lnTo>
                    <a:pt x="95954" y="192166"/>
                  </a:lnTo>
                  <a:lnTo>
                    <a:pt x="93188" y="241131"/>
                  </a:lnTo>
                  <a:lnTo>
                    <a:pt x="88744" y="289897"/>
                  </a:lnTo>
                  <a:lnTo>
                    <a:pt x="82537" y="338462"/>
                  </a:lnTo>
                  <a:lnTo>
                    <a:pt x="74484" y="386822"/>
                  </a:lnTo>
                  <a:lnTo>
                    <a:pt x="64498" y="434974"/>
                  </a:lnTo>
                  <a:lnTo>
                    <a:pt x="52495" y="482914"/>
                  </a:lnTo>
                  <a:lnTo>
                    <a:pt x="38392" y="530640"/>
                  </a:lnTo>
                  <a:lnTo>
                    <a:pt x="27490" y="568865"/>
                  </a:lnTo>
                  <a:lnTo>
                    <a:pt x="18162" y="608037"/>
                  </a:lnTo>
                  <a:lnTo>
                    <a:pt x="9350" y="648262"/>
                  </a:lnTo>
                  <a:lnTo>
                    <a:pt x="0" y="689644"/>
                  </a:lnTo>
                  <a:lnTo>
                    <a:pt x="14002" y="689866"/>
                  </a:lnTo>
                  <a:lnTo>
                    <a:pt x="26069" y="690211"/>
                  </a:lnTo>
                  <a:lnTo>
                    <a:pt x="36779" y="690196"/>
                  </a:lnTo>
                  <a:lnTo>
                    <a:pt x="46710" y="689339"/>
                  </a:lnTo>
                  <a:lnTo>
                    <a:pt x="186770" y="689160"/>
                  </a:lnTo>
                  <a:lnTo>
                    <a:pt x="187617" y="689073"/>
                  </a:lnTo>
                  <a:lnTo>
                    <a:pt x="678178" y="689073"/>
                  </a:lnTo>
                  <a:lnTo>
                    <a:pt x="683869" y="687714"/>
                  </a:lnTo>
                  <a:lnTo>
                    <a:pt x="695236" y="686012"/>
                  </a:lnTo>
                  <a:lnTo>
                    <a:pt x="680058" y="629446"/>
                  </a:lnTo>
                  <a:lnTo>
                    <a:pt x="69697" y="629446"/>
                  </a:lnTo>
                  <a:lnTo>
                    <a:pt x="83880" y="581949"/>
                  </a:lnTo>
                  <a:lnTo>
                    <a:pt x="97191" y="534465"/>
                  </a:lnTo>
                  <a:lnTo>
                    <a:pt x="109487" y="486960"/>
                  </a:lnTo>
                  <a:lnTo>
                    <a:pt x="120625" y="439402"/>
                  </a:lnTo>
                  <a:lnTo>
                    <a:pt x="130464" y="391758"/>
                  </a:lnTo>
                  <a:lnTo>
                    <a:pt x="138861" y="343997"/>
                  </a:lnTo>
                  <a:lnTo>
                    <a:pt x="145674" y="296084"/>
                  </a:lnTo>
                  <a:lnTo>
                    <a:pt x="150759" y="247989"/>
                  </a:lnTo>
                  <a:lnTo>
                    <a:pt x="153976" y="199678"/>
                  </a:lnTo>
                  <a:lnTo>
                    <a:pt x="155132" y="153075"/>
                  </a:lnTo>
                  <a:lnTo>
                    <a:pt x="155161" y="150097"/>
                  </a:lnTo>
                  <a:lnTo>
                    <a:pt x="154231" y="102280"/>
                  </a:lnTo>
                  <a:lnTo>
                    <a:pt x="150985" y="53127"/>
                  </a:lnTo>
                  <a:lnTo>
                    <a:pt x="145300" y="3628"/>
                  </a:lnTo>
                  <a:lnTo>
                    <a:pt x="115918" y="0"/>
                  </a:lnTo>
                  <a:close/>
                </a:path>
                <a:path w="695325" h="1183639">
                  <a:moveTo>
                    <a:pt x="566349" y="759"/>
                  </a:moveTo>
                  <a:lnTo>
                    <a:pt x="540213" y="44116"/>
                  </a:lnTo>
                  <a:lnTo>
                    <a:pt x="540026" y="71252"/>
                  </a:lnTo>
                  <a:lnTo>
                    <a:pt x="539859" y="93655"/>
                  </a:lnTo>
                  <a:lnTo>
                    <a:pt x="539862" y="123826"/>
                  </a:lnTo>
                  <a:lnTo>
                    <a:pt x="540440" y="153075"/>
                  </a:lnTo>
                  <a:lnTo>
                    <a:pt x="541251" y="196530"/>
                  </a:lnTo>
                  <a:lnTo>
                    <a:pt x="541986" y="243033"/>
                  </a:lnTo>
                  <a:lnTo>
                    <a:pt x="544305" y="289282"/>
                  </a:lnTo>
                  <a:lnTo>
                    <a:pt x="549922" y="334958"/>
                  </a:lnTo>
                  <a:lnTo>
                    <a:pt x="559730" y="384801"/>
                  </a:lnTo>
                  <a:lnTo>
                    <a:pt x="571339" y="434332"/>
                  </a:lnTo>
                  <a:lnTo>
                    <a:pt x="584015" y="483678"/>
                  </a:lnTo>
                  <a:lnTo>
                    <a:pt x="597025" y="532968"/>
                  </a:lnTo>
                  <a:lnTo>
                    <a:pt x="609638" y="582329"/>
                  </a:lnTo>
                  <a:lnTo>
                    <a:pt x="612240" y="593552"/>
                  </a:lnTo>
                  <a:lnTo>
                    <a:pt x="614670" y="605030"/>
                  </a:lnTo>
                  <a:lnTo>
                    <a:pt x="617096" y="616937"/>
                  </a:lnTo>
                  <a:lnTo>
                    <a:pt x="619683" y="629446"/>
                  </a:lnTo>
                  <a:lnTo>
                    <a:pt x="680058" y="629446"/>
                  </a:lnTo>
                  <a:lnTo>
                    <a:pt x="669323" y="589436"/>
                  </a:lnTo>
                  <a:lnTo>
                    <a:pt x="656628" y="541230"/>
                  </a:lnTo>
                  <a:lnTo>
                    <a:pt x="644426" y="493033"/>
                  </a:lnTo>
                  <a:lnTo>
                    <a:pt x="632954" y="444812"/>
                  </a:lnTo>
                  <a:lnTo>
                    <a:pt x="622453" y="396532"/>
                  </a:lnTo>
                  <a:lnTo>
                    <a:pt x="613160" y="348160"/>
                  </a:lnTo>
                  <a:lnTo>
                    <a:pt x="605315" y="299662"/>
                  </a:lnTo>
                  <a:lnTo>
                    <a:pt x="599157" y="251005"/>
                  </a:lnTo>
                  <a:lnTo>
                    <a:pt x="594923" y="202153"/>
                  </a:lnTo>
                  <a:lnTo>
                    <a:pt x="592854" y="153075"/>
                  </a:lnTo>
                  <a:lnTo>
                    <a:pt x="593187" y="103735"/>
                  </a:lnTo>
                  <a:lnTo>
                    <a:pt x="596162" y="54100"/>
                  </a:lnTo>
                  <a:lnTo>
                    <a:pt x="602018" y="4136"/>
                  </a:lnTo>
                  <a:lnTo>
                    <a:pt x="566349" y="759"/>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3" name="object 13">
              <a:extLst>
                <a:ext uri="{FF2B5EF4-FFF2-40B4-BE49-F238E27FC236}">
                  <a16:creationId xmlns:a16="http://schemas.microsoft.com/office/drawing/2014/main" id="{9B9E9515-797F-4329-B70F-81A4BAEE4ABE}"/>
                </a:ext>
              </a:extLst>
            </p:cNvPr>
            <p:cNvSpPr/>
            <p:nvPr/>
          </p:nvSpPr>
          <p:spPr>
            <a:xfrm>
              <a:off x="2855211" y="2246245"/>
              <a:ext cx="166370" cy="82550"/>
            </a:xfrm>
            <a:custGeom>
              <a:avLst/>
              <a:gdLst/>
              <a:ahLst/>
              <a:cxnLst/>
              <a:rect l="l" t="t" r="r" b="b"/>
              <a:pathLst>
                <a:path w="166369" h="82550">
                  <a:moveTo>
                    <a:pt x="165989" y="0"/>
                  </a:moveTo>
                  <a:lnTo>
                    <a:pt x="0" y="0"/>
                  </a:lnTo>
                  <a:lnTo>
                    <a:pt x="7244" y="33536"/>
                  </a:lnTo>
                  <a:lnTo>
                    <a:pt x="23307" y="58897"/>
                  </a:lnTo>
                  <a:lnTo>
                    <a:pt x="47195" y="75307"/>
                  </a:lnTo>
                  <a:lnTo>
                    <a:pt x="77914" y="81991"/>
                  </a:lnTo>
                  <a:lnTo>
                    <a:pt x="110267" y="77815"/>
                  </a:lnTo>
                  <a:lnTo>
                    <a:pt x="136305" y="62403"/>
                  </a:lnTo>
                  <a:lnTo>
                    <a:pt x="155167" y="36287"/>
                  </a:lnTo>
                  <a:lnTo>
                    <a:pt x="165989" y="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 name="Group 33" descr="Icon of a person with an arm injury" title="Arm Injury">
            <a:extLst>
              <a:ext uri="{FF2B5EF4-FFF2-40B4-BE49-F238E27FC236}">
                <a16:creationId xmlns:a16="http://schemas.microsoft.com/office/drawing/2014/main" id="{5B0F6599-EB12-4C73-A8B7-CE438C6CD1A4}"/>
              </a:ext>
            </a:extLst>
          </p:cNvPr>
          <p:cNvGrpSpPr>
            <a:grpSpLocks noChangeAspect="1"/>
          </p:cNvGrpSpPr>
          <p:nvPr userDrawn="1"/>
        </p:nvGrpSpPr>
        <p:grpSpPr>
          <a:xfrm>
            <a:off x="5055033" y="5684804"/>
            <a:ext cx="397532" cy="914400"/>
            <a:chOff x="5742070" y="1770398"/>
            <a:chExt cx="952500" cy="2190931"/>
          </a:xfrm>
          <a:solidFill>
            <a:schemeClr val="bg1"/>
          </a:solidFill>
        </p:grpSpPr>
        <p:sp>
          <p:nvSpPr>
            <p:cNvPr id="35" name="object 8">
              <a:extLst>
                <a:ext uri="{FF2B5EF4-FFF2-40B4-BE49-F238E27FC236}">
                  <a16:creationId xmlns:a16="http://schemas.microsoft.com/office/drawing/2014/main" id="{7CDC8557-166D-4102-AE61-2DC316B121A5}"/>
                </a:ext>
              </a:extLst>
            </p:cNvPr>
            <p:cNvSpPr/>
            <p:nvPr/>
          </p:nvSpPr>
          <p:spPr>
            <a:xfrm>
              <a:off x="5742070" y="1770398"/>
              <a:ext cx="952500" cy="1536700"/>
            </a:xfrm>
            <a:custGeom>
              <a:avLst/>
              <a:gdLst/>
              <a:ahLst/>
              <a:cxnLst/>
              <a:rect l="l" t="t" r="r" b="b"/>
              <a:pathLst>
                <a:path w="952500" h="1536700">
                  <a:moveTo>
                    <a:pt x="771151" y="762000"/>
                  </a:moveTo>
                  <a:lnTo>
                    <a:pt x="661758" y="762000"/>
                  </a:lnTo>
                  <a:lnTo>
                    <a:pt x="707712" y="787400"/>
                  </a:lnTo>
                  <a:lnTo>
                    <a:pt x="749367" y="812800"/>
                  </a:lnTo>
                  <a:lnTo>
                    <a:pt x="786346" y="850900"/>
                  </a:lnTo>
                  <a:lnTo>
                    <a:pt x="818273" y="889000"/>
                  </a:lnTo>
                  <a:lnTo>
                    <a:pt x="844771" y="927100"/>
                  </a:lnTo>
                  <a:lnTo>
                    <a:pt x="865462" y="977900"/>
                  </a:lnTo>
                  <a:lnTo>
                    <a:pt x="879971" y="1028700"/>
                  </a:lnTo>
                  <a:lnTo>
                    <a:pt x="887920" y="1079500"/>
                  </a:lnTo>
                  <a:lnTo>
                    <a:pt x="891467" y="1130300"/>
                  </a:lnTo>
                  <a:lnTo>
                    <a:pt x="893709" y="1181100"/>
                  </a:lnTo>
                  <a:lnTo>
                    <a:pt x="894930" y="1231900"/>
                  </a:lnTo>
                  <a:lnTo>
                    <a:pt x="895416" y="1282700"/>
                  </a:lnTo>
                  <a:lnTo>
                    <a:pt x="895325" y="1447800"/>
                  </a:lnTo>
                  <a:lnTo>
                    <a:pt x="895730" y="1498600"/>
                  </a:lnTo>
                  <a:lnTo>
                    <a:pt x="895756" y="1536700"/>
                  </a:lnTo>
                  <a:lnTo>
                    <a:pt x="951966" y="1536700"/>
                  </a:lnTo>
                  <a:lnTo>
                    <a:pt x="952062" y="1435100"/>
                  </a:lnTo>
                  <a:lnTo>
                    <a:pt x="952183" y="1257300"/>
                  </a:lnTo>
                  <a:lnTo>
                    <a:pt x="952056" y="1193800"/>
                  </a:lnTo>
                  <a:lnTo>
                    <a:pt x="951801" y="1143000"/>
                  </a:lnTo>
                  <a:lnTo>
                    <a:pt x="949516" y="1092200"/>
                  </a:lnTo>
                  <a:lnTo>
                    <a:pt x="943329" y="1054100"/>
                  </a:lnTo>
                  <a:lnTo>
                    <a:pt x="933230" y="1003300"/>
                  </a:lnTo>
                  <a:lnTo>
                    <a:pt x="919210" y="965200"/>
                  </a:lnTo>
                  <a:lnTo>
                    <a:pt x="901262" y="927100"/>
                  </a:lnTo>
                  <a:lnTo>
                    <a:pt x="879377" y="876300"/>
                  </a:lnTo>
                  <a:lnTo>
                    <a:pt x="853546" y="850900"/>
                  </a:lnTo>
                  <a:lnTo>
                    <a:pt x="823760" y="812800"/>
                  </a:lnTo>
                  <a:lnTo>
                    <a:pt x="790011" y="774700"/>
                  </a:lnTo>
                  <a:lnTo>
                    <a:pt x="771151" y="762000"/>
                  </a:lnTo>
                  <a:close/>
                </a:path>
                <a:path w="952500" h="1536700">
                  <a:moveTo>
                    <a:pt x="649686" y="685800"/>
                  </a:moveTo>
                  <a:lnTo>
                    <a:pt x="310154" y="685800"/>
                  </a:lnTo>
                  <a:lnTo>
                    <a:pt x="300238" y="698500"/>
                  </a:lnTo>
                  <a:lnTo>
                    <a:pt x="291045" y="698500"/>
                  </a:lnTo>
                  <a:lnTo>
                    <a:pt x="245035" y="723900"/>
                  </a:lnTo>
                  <a:lnTo>
                    <a:pt x="202912" y="749300"/>
                  </a:lnTo>
                  <a:lnTo>
                    <a:pt x="164683" y="774700"/>
                  </a:lnTo>
                  <a:lnTo>
                    <a:pt x="130356" y="812800"/>
                  </a:lnTo>
                  <a:lnTo>
                    <a:pt x="99940" y="838200"/>
                  </a:lnTo>
                  <a:lnTo>
                    <a:pt x="73442" y="876300"/>
                  </a:lnTo>
                  <a:lnTo>
                    <a:pt x="50870" y="927100"/>
                  </a:lnTo>
                  <a:lnTo>
                    <a:pt x="32231" y="965200"/>
                  </a:lnTo>
                  <a:lnTo>
                    <a:pt x="17535" y="1016000"/>
                  </a:lnTo>
                  <a:lnTo>
                    <a:pt x="6788" y="1066800"/>
                  </a:lnTo>
                  <a:lnTo>
                    <a:pt x="0" y="1117600"/>
                  </a:lnTo>
                  <a:lnTo>
                    <a:pt x="12" y="1130300"/>
                  </a:lnTo>
                  <a:lnTo>
                    <a:pt x="4999" y="1143000"/>
                  </a:lnTo>
                  <a:lnTo>
                    <a:pt x="16321" y="1155700"/>
                  </a:lnTo>
                  <a:lnTo>
                    <a:pt x="35344" y="1168400"/>
                  </a:lnTo>
                  <a:lnTo>
                    <a:pt x="83076" y="1181100"/>
                  </a:lnTo>
                  <a:lnTo>
                    <a:pt x="130712" y="1206500"/>
                  </a:lnTo>
                  <a:lnTo>
                    <a:pt x="225785" y="1231900"/>
                  </a:lnTo>
                  <a:lnTo>
                    <a:pt x="273263" y="1257300"/>
                  </a:lnTo>
                  <a:lnTo>
                    <a:pt x="368210" y="1282700"/>
                  </a:lnTo>
                  <a:lnTo>
                    <a:pt x="415721" y="1308100"/>
                  </a:lnTo>
                  <a:lnTo>
                    <a:pt x="439222" y="1308100"/>
                  </a:lnTo>
                  <a:lnTo>
                    <a:pt x="487248" y="1333500"/>
                  </a:lnTo>
                  <a:lnTo>
                    <a:pt x="512063" y="1333500"/>
                  </a:lnTo>
                  <a:lnTo>
                    <a:pt x="531075" y="1282700"/>
                  </a:lnTo>
                  <a:lnTo>
                    <a:pt x="444728" y="1257300"/>
                  </a:lnTo>
                  <a:lnTo>
                    <a:pt x="461423" y="1219200"/>
                  </a:lnTo>
                  <a:lnTo>
                    <a:pt x="366255" y="1219200"/>
                  </a:lnTo>
                  <a:lnTo>
                    <a:pt x="225742" y="1181100"/>
                  </a:lnTo>
                  <a:lnTo>
                    <a:pt x="178986" y="1155700"/>
                  </a:lnTo>
                  <a:lnTo>
                    <a:pt x="85343" y="1130300"/>
                  </a:lnTo>
                  <a:lnTo>
                    <a:pt x="72374" y="1117600"/>
                  </a:lnTo>
                  <a:lnTo>
                    <a:pt x="64096" y="1104900"/>
                  </a:lnTo>
                  <a:lnTo>
                    <a:pt x="60476" y="1104900"/>
                  </a:lnTo>
                  <a:lnTo>
                    <a:pt x="61480" y="1092200"/>
                  </a:lnTo>
                  <a:lnTo>
                    <a:pt x="65711" y="1066800"/>
                  </a:lnTo>
                  <a:lnTo>
                    <a:pt x="69884" y="1041400"/>
                  </a:lnTo>
                  <a:lnTo>
                    <a:pt x="78727" y="1003300"/>
                  </a:lnTo>
                  <a:lnTo>
                    <a:pt x="248368" y="1003300"/>
                  </a:lnTo>
                  <a:lnTo>
                    <a:pt x="107327" y="952500"/>
                  </a:lnTo>
                  <a:lnTo>
                    <a:pt x="129802" y="901700"/>
                  </a:lnTo>
                  <a:lnTo>
                    <a:pt x="160260" y="863600"/>
                  </a:lnTo>
                  <a:lnTo>
                    <a:pt x="197085" y="825500"/>
                  </a:lnTo>
                  <a:lnTo>
                    <a:pt x="238661" y="787400"/>
                  </a:lnTo>
                  <a:lnTo>
                    <a:pt x="283375" y="762000"/>
                  </a:lnTo>
                  <a:lnTo>
                    <a:pt x="356438" y="762000"/>
                  </a:lnTo>
                  <a:lnTo>
                    <a:pt x="355385" y="749300"/>
                  </a:lnTo>
                  <a:lnTo>
                    <a:pt x="358598" y="736600"/>
                  </a:lnTo>
                  <a:lnTo>
                    <a:pt x="366319" y="736600"/>
                  </a:lnTo>
                  <a:lnTo>
                    <a:pt x="378790" y="723900"/>
                  </a:lnTo>
                  <a:lnTo>
                    <a:pt x="402720" y="723900"/>
                  </a:lnTo>
                  <a:lnTo>
                    <a:pt x="475767" y="711200"/>
                  </a:lnTo>
                  <a:lnTo>
                    <a:pt x="690024" y="711200"/>
                  </a:lnTo>
                  <a:lnTo>
                    <a:pt x="669458" y="698500"/>
                  </a:lnTo>
                  <a:lnTo>
                    <a:pt x="649686" y="685800"/>
                  </a:lnTo>
                  <a:close/>
                </a:path>
                <a:path w="952500" h="1536700">
                  <a:moveTo>
                    <a:pt x="248368" y="1003300"/>
                  </a:moveTo>
                  <a:lnTo>
                    <a:pt x="78727" y="1003300"/>
                  </a:lnTo>
                  <a:lnTo>
                    <a:pt x="436016" y="1130300"/>
                  </a:lnTo>
                  <a:lnTo>
                    <a:pt x="426265" y="1155700"/>
                  </a:lnTo>
                  <a:lnTo>
                    <a:pt x="416942" y="1168400"/>
                  </a:lnTo>
                  <a:lnTo>
                    <a:pt x="407393" y="1193800"/>
                  </a:lnTo>
                  <a:lnTo>
                    <a:pt x="396963" y="1219200"/>
                  </a:lnTo>
                  <a:lnTo>
                    <a:pt x="461423" y="1219200"/>
                  </a:lnTo>
                  <a:lnTo>
                    <a:pt x="522636" y="1079500"/>
                  </a:lnTo>
                  <a:lnTo>
                    <a:pt x="459930" y="1079500"/>
                  </a:lnTo>
                  <a:lnTo>
                    <a:pt x="248368" y="1003300"/>
                  </a:lnTo>
                  <a:close/>
                </a:path>
                <a:path w="952500" h="1536700">
                  <a:moveTo>
                    <a:pt x="356438" y="762000"/>
                  </a:moveTo>
                  <a:lnTo>
                    <a:pt x="283375" y="762000"/>
                  </a:lnTo>
                  <a:lnTo>
                    <a:pt x="306766" y="800100"/>
                  </a:lnTo>
                  <a:lnTo>
                    <a:pt x="329296" y="825500"/>
                  </a:lnTo>
                  <a:lnTo>
                    <a:pt x="353196" y="863600"/>
                  </a:lnTo>
                  <a:lnTo>
                    <a:pt x="380695" y="889000"/>
                  </a:lnTo>
                  <a:lnTo>
                    <a:pt x="412633" y="901700"/>
                  </a:lnTo>
                  <a:lnTo>
                    <a:pt x="448756" y="914400"/>
                  </a:lnTo>
                  <a:lnTo>
                    <a:pt x="487281" y="914400"/>
                  </a:lnTo>
                  <a:lnTo>
                    <a:pt x="526427" y="927100"/>
                  </a:lnTo>
                  <a:lnTo>
                    <a:pt x="459930" y="1079500"/>
                  </a:lnTo>
                  <a:lnTo>
                    <a:pt x="522636" y="1079500"/>
                  </a:lnTo>
                  <a:lnTo>
                    <a:pt x="617239" y="863600"/>
                  </a:lnTo>
                  <a:lnTo>
                    <a:pt x="475767" y="863600"/>
                  </a:lnTo>
                  <a:lnTo>
                    <a:pt x="434305" y="850900"/>
                  </a:lnTo>
                  <a:lnTo>
                    <a:pt x="398529" y="825500"/>
                  </a:lnTo>
                  <a:lnTo>
                    <a:pt x="371540" y="800100"/>
                  </a:lnTo>
                  <a:lnTo>
                    <a:pt x="356438" y="762000"/>
                  </a:lnTo>
                  <a:close/>
                </a:path>
                <a:path w="952500" h="1536700">
                  <a:moveTo>
                    <a:pt x="690024" y="711200"/>
                  </a:moveTo>
                  <a:lnTo>
                    <a:pt x="475767" y="711200"/>
                  </a:lnTo>
                  <a:lnTo>
                    <a:pt x="525129" y="723900"/>
                  </a:lnTo>
                  <a:lnTo>
                    <a:pt x="574890" y="723900"/>
                  </a:lnTo>
                  <a:lnTo>
                    <a:pt x="587810" y="736600"/>
                  </a:lnTo>
                  <a:lnTo>
                    <a:pt x="594885" y="736600"/>
                  </a:lnTo>
                  <a:lnTo>
                    <a:pt x="597195" y="749300"/>
                  </a:lnTo>
                  <a:lnTo>
                    <a:pt x="580532" y="800100"/>
                  </a:lnTo>
                  <a:lnTo>
                    <a:pt x="517280" y="850900"/>
                  </a:lnTo>
                  <a:lnTo>
                    <a:pt x="475767" y="863600"/>
                  </a:lnTo>
                  <a:lnTo>
                    <a:pt x="617239" y="863600"/>
                  </a:lnTo>
                  <a:lnTo>
                    <a:pt x="661758" y="762000"/>
                  </a:lnTo>
                  <a:lnTo>
                    <a:pt x="771151" y="762000"/>
                  </a:lnTo>
                  <a:lnTo>
                    <a:pt x="752291" y="749300"/>
                  </a:lnTo>
                  <a:lnTo>
                    <a:pt x="690024" y="711200"/>
                  </a:lnTo>
                  <a:close/>
                </a:path>
                <a:path w="952500" h="1536700">
                  <a:moveTo>
                    <a:pt x="764311" y="495300"/>
                  </a:moveTo>
                  <a:lnTo>
                    <a:pt x="701738" y="495300"/>
                  </a:lnTo>
                  <a:lnTo>
                    <a:pt x="685442" y="533400"/>
                  </a:lnTo>
                  <a:lnTo>
                    <a:pt x="658328" y="571500"/>
                  </a:lnTo>
                  <a:lnTo>
                    <a:pt x="622276" y="609600"/>
                  </a:lnTo>
                  <a:lnTo>
                    <a:pt x="579163" y="635000"/>
                  </a:lnTo>
                  <a:lnTo>
                    <a:pt x="530869" y="647700"/>
                  </a:lnTo>
                  <a:lnTo>
                    <a:pt x="479272" y="660400"/>
                  </a:lnTo>
                  <a:lnTo>
                    <a:pt x="318822" y="660400"/>
                  </a:lnTo>
                  <a:lnTo>
                    <a:pt x="334302" y="673100"/>
                  </a:lnTo>
                  <a:lnTo>
                    <a:pt x="321330" y="685800"/>
                  </a:lnTo>
                  <a:lnTo>
                    <a:pt x="631507" y="685800"/>
                  </a:lnTo>
                  <a:lnTo>
                    <a:pt x="658793" y="647700"/>
                  </a:lnTo>
                  <a:lnTo>
                    <a:pt x="686177" y="622300"/>
                  </a:lnTo>
                  <a:lnTo>
                    <a:pt x="712499" y="596900"/>
                  </a:lnTo>
                  <a:lnTo>
                    <a:pt x="736599" y="558800"/>
                  </a:lnTo>
                  <a:lnTo>
                    <a:pt x="758584" y="520700"/>
                  </a:lnTo>
                  <a:lnTo>
                    <a:pt x="764311" y="495300"/>
                  </a:lnTo>
                  <a:close/>
                </a:path>
                <a:path w="952500" h="1536700">
                  <a:moveTo>
                    <a:pt x="184111" y="38100"/>
                  </a:moveTo>
                  <a:lnTo>
                    <a:pt x="183960" y="88900"/>
                  </a:lnTo>
                  <a:lnTo>
                    <a:pt x="183529" y="152400"/>
                  </a:lnTo>
                  <a:lnTo>
                    <a:pt x="183057" y="228600"/>
                  </a:lnTo>
                  <a:lnTo>
                    <a:pt x="182934" y="317500"/>
                  </a:lnTo>
                  <a:lnTo>
                    <a:pt x="183195" y="355600"/>
                  </a:lnTo>
                  <a:lnTo>
                    <a:pt x="184096" y="406400"/>
                  </a:lnTo>
                  <a:lnTo>
                    <a:pt x="185699" y="457200"/>
                  </a:lnTo>
                  <a:lnTo>
                    <a:pt x="194078" y="508000"/>
                  </a:lnTo>
                  <a:lnTo>
                    <a:pt x="213850" y="558800"/>
                  </a:lnTo>
                  <a:lnTo>
                    <a:pt x="242997" y="596900"/>
                  </a:lnTo>
                  <a:lnTo>
                    <a:pt x="291730" y="647700"/>
                  </a:lnTo>
                  <a:lnTo>
                    <a:pt x="304734" y="660400"/>
                  </a:lnTo>
                  <a:lnTo>
                    <a:pt x="479272" y="660400"/>
                  </a:lnTo>
                  <a:lnTo>
                    <a:pt x="427553" y="647700"/>
                  </a:lnTo>
                  <a:lnTo>
                    <a:pt x="379072" y="635000"/>
                  </a:lnTo>
                  <a:lnTo>
                    <a:pt x="335749" y="609600"/>
                  </a:lnTo>
                  <a:lnTo>
                    <a:pt x="299505" y="571500"/>
                  </a:lnTo>
                  <a:lnTo>
                    <a:pt x="272259" y="533400"/>
                  </a:lnTo>
                  <a:lnTo>
                    <a:pt x="255930" y="495300"/>
                  </a:lnTo>
                  <a:lnTo>
                    <a:pt x="764311" y="495300"/>
                  </a:lnTo>
                  <a:lnTo>
                    <a:pt x="767174" y="482600"/>
                  </a:lnTo>
                  <a:lnTo>
                    <a:pt x="345668" y="482600"/>
                  </a:lnTo>
                  <a:lnTo>
                    <a:pt x="308238" y="457200"/>
                  </a:lnTo>
                  <a:lnTo>
                    <a:pt x="277410" y="431800"/>
                  </a:lnTo>
                  <a:lnTo>
                    <a:pt x="254591" y="393700"/>
                  </a:lnTo>
                  <a:lnTo>
                    <a:pt x="241185" y="342900"/>
                  </a:lnTo>
                  <a:lnTo>
                    <a:pt x="286453" y="330200"/>
                  </a:lnTo>
                  <a:lnTo>
                    <a:pt x="330225" y="304800"/>
                  </a:lnTo>
                  <a:lnTo>
                    <a:pt x="777500" y="304800"/>
                  </a:lnTo>
                  <a:lnTo>
                    <a:pt x="776986" y="279400"/>
                  </a:lnTo>
                  <a:lnTo>
                    <a:pt x="238074" y="279400"/>
                  </a:lnTo>
                  <a:lnTo>
                    <a:pt x="238163" y="152400"/>
                  </a:lnTo>
                  <a:lnTo>
                    <a:pt x="238400" y="152400"/>
                  </a:lnTo>
                  <a:lnTo>
                    <a:pt x="238899" y="139700"/>
                  </a:lnTo>
                  <a:lnTo>
                    <a:pt x="239513" y="127000"/>
                  </a:lnTo>
                  <a:lnTo>
                    <a:pt x="329913" y="127000"/>
                  </a:lnTo>
                  <a:lnTo>
                    <a:pt x="338958" y="88900"/>
                  </a:lnTo>
                  <a:lnTo>
                    <a:pt x="353707" y="63500"/>
                  </a:lnTo>
                  <a:lnTo>
                    <a:pt x="278599" y="63500"/>
                  </a:lnTo>
                  <a:lnTo>
                    <a:pt x="184111" y="38100"/>
                  </a:lnTo>
                  <a:close/>
                </a:path>
                <a:path w="952500" h="1536700">
                  <a:moveTo>
                    <a:pt x="701738" y="495300"/>
                  </a:moveTo>
                  <a:lnTo>
                    <a:pt x="255930" y="495300"/>
                  </a:lnTo>
                  <a:lnTo>
                    <a:pt x="395008" y="571500"/>
                  </a:lnTo>
                  <a:lnTo>
                    <a:pt x="408652" y="533400"/>
                  </a:lnTo>
                  <a:lnTo>
                    <a:pt x="424562" y="520700"/>
                  </a:lnTo>
                  <a:lnTo>
                    <a:pt x="452952" y="508000"/>
                  </a:lnTo>
                  <a:lnTo>
                    <a:pt x="676992" y="508000"/>
                  </a:lnTo>
                  <a:lnTo>
                    <a:pt x="701738" y="495300"/>
                  </a:lnTo>
                  <a:close/>
                </a:path>
                <a:path w="952500" h="1536700">
                  <a:moveTo>
                    <a:pt x="676992" y="508000"/>
                  </a:moveTo>
                  <a:lnTo>
                    <a:pt x="504037" y="508000"/>
                  </a:lnTo>
                  <a:lnTo>
                    <a:pt x="527263" y="520700"/>
                  </a:lnTo>
                  <a:lnTo>
                    <a:pt x="540794" y="520700"/>
                  </a:lnTo>
                  <a:lnTo>
                    <a:pt x="548253" y="546100"/>
                  </a:lnTo>
                  <a:lnTo>
                    <a:pt x="553262" y="571500"/>
                  </a:lnTo>
                  <a:lnTo>
                    <a:pt x="676992" y="508000"/>
                  </a:lnTo>
                  <a:close/>
                </a:path>
                <a:path w="952500" h="1536700">
                  <a:moveTo>
                    <a:pt x="507350" y="457200"/>
                  </a:moveTo>
                  <a:lnTo>
                    <a:pt x="416252" y="457200"/>
                  </a:lnTo>
                  <a:lnTo>
                    <a:pt x="370725" y="482600"/>
                  </a:lnTo>
                  <a:lnTo>
                    <a:pt x="601192" y="482600"/>
                  </a:lnTo>
                  <a:lnTo>
                    <a:pt x="507350" y="457200"/>
                  </a:lnTo>
                  <a:close/>
                </a:path>
                <a:path w="952500" h="1536700">
                  <a:moveTo>
                    <a:pt x="777500" y="304800"/>
                  </a:moveTo>
                  <a:lnTo>
                    <a:pt x="351815" y="304800"/>
                  </a:lnTo>
                  <a:lnTo>
                    <a:pt x="381573" y="330200"/>
                  </a:lnTo>
                  <a:lnTo>
                    <a:pt x="413061" y="330200"/>
                  </a:lnTo>
                  <a:lnTo>
                    <a:pt x="445748" y="342900"/>
                  </a:lnTo>
                  <a:lnTo>
                    <a:pt x="718019" y="342900"/>
                  </a:lnTo>
                  <a:lnTo>
                    <a:pt x="700028" y="393700"/>
                  </a:lnTo>
                  <a:lnTo>
                    <a:pt x="673507" y="431800"/>
                  </a:lnTo>
                  <a:lnTo>
                    <a:pt x="640036" y="457200"/>
                  </a:lnTo>
                  <a:lnTo>
                    <a:pt x="601192" y="482600"/>
                  </a:lnTo>
                  <a:lnTo>
                    <a:pt x="767174" y="482600"/>
                  </a:lnTo>
                  <a:lnTo>
                    <a:pt x="770038" y="469900"/>
                  </a:lnTo>
                  <a:lnTo>
                    <a:pt x="774641" y="431800"/>
                  </a:lnTo>
                  <a:lnTo>
                    <a:pt x="776074" y="381000"/>
                  </a:lnTo>
                  <a:lnTo>
                    <a:pt x="778014" y="330200"/>
                  </a:lnTo>
                  <a:lnTo>
                    <a:pt x="777500" y="304800"/>
                  </a:lnTo>
                  <a:close/>
                </a:path>
                <a:path w="952500" h="1536700">
                  <a:moveTo>
                    <a:pt x="368426" y="228600"/>
                  </a:moveTo>
                  <a:lnTo>
                    <a:pt x="309041" y="228600"/>
                  </a:lnTo>
                  <a:lnTo>
                    <a:pt x="298930" y="254000"/>
                  </a:lnTo>
                  <a:lnTo>
                    <a:pt x="284059" y="266700"/>
                  </a:lnTo>
                  <a:lnTo>
                    <a:pt x="263937" y="279400"/>
                  </a:lnTo>
                  <a:lnTo>
                    <a:pt x="418106" y="279400"/>
                  </a:lnTo>
                  <a:lnTo>
                    <a:pt x="396832" y="266700"/>
                  </a:lnTo>
                  <a:lnTo>
                    <a:pt x="379856" y="254000"/>
                  </a:lnTo>
                  <a:lnTo>
                    <a:pt x="368426" y="228600"/>
                  </a:lnTo>
                  <a:close/>
                </a:path>
                <a:path w="952500" h="1536700">
                  <a:moveTo>
                    <a:pt x="479523" y="0"/>
                  </a:moveTo>
                  <a:lnTo>
                    <a:pt x="349902" y="0"/>
                  </a:lnTo>
                  <a:lnTo>
                    <a:pt x="311832" y="25400"/>
                  </a:lnTo>
                  <a:lnTo>
                    <a:pt x="278599" y="63500"/>
                  </a:lnTo>
                  <a:lnTo>
                    <a:pt x="482180" y="63500"/>
                  </a:lnTo>
                  <a:lnTo>
                    <a:pt x="529422" y="76200"/>
                  </a:lnTo>
                  <a:lnTo>
                    <a:pt x="571951" y="88900"/>
                  </a:lnTo>
                  <a:lnTo>
                    <a:pt x="610101" y="114300"/>
                  </a:lnTo>
                  <a:lnTo>
                    <a:pt x="644201" y="152400"/>
                  </a:lnTo>
                  <a:lnTo>
                    <a:pt x="674586" y="190500"/>
                  </a:lnTo>
                  <a:lnTo>
                    <a:pt x="701586" y="228600"/>
                  </a:lnTo>
                  <a:lnTo>
                    <a:pt x="715902" y="266700"/>
                  </a:lnTo>
                  <a:lnTo>
                    <a:pt x="721283" y="279400"/>
                  </a:lnTo>
                  <a:lnTo>
                    <a:pt x="776986" y="279400"/>
                  </a:lnTo>
                  <a:lnTo>
                    <a:pt x="767369" y="241300"/>
                  </a:lnTo>
                  <a:lnTo>
                    <a:pt x="750347" y="190500"/>
                  </a:lnTo>
                  <a:lnTo>
                    <a:pt x="727104" y="152400"/>
                  </a:lnTo>
                  <a:lnTo>
                    <a:pt x="698825" y="114300"/>
                  </a:lnTo>
                  <a:lnTo>
                    <a:pt x="666693" y="88900"/>
                  </a:lnTo>
                  <a:lnTo>
                    <a:pt x="631894" y="63500"/>
                  </a:lnTo>
                  <a:lnTo>
                    <a:pt x="595610" y="38100"/>
                  </a:lnTo>
                  <a:lnTo>
                    <a:pt x="523328" y="12700"/>
                  </a:lnTo>
                  <a:lnTo>
                    <a:pt x="479523" y="0"/>
                  </a:lnTo>
                  <a:close/>
                </a:path>
                <a:path w="952500" h="1536700">
                  <a:moveTo>
                    <a:pt x="356236" y="215900"/>
                  </a:moveTo>
                  <a:lnTo>
                    <a:pt x="320686" y="215900"/>
                  </a:lnTo>
                  <a:lnTo>
                    <a:pt x="313296" y="228600"/>
                  </a:lnTo>
                  <a:lnTo>
                    <a:pt x="364206" y="228600"/>
                  </a:lnTo>
                  <a:lnTo>
                    <a:pt x="356236" y="215900"/>
                  </a:lnTo>
                  <a:close/>
                </a:path>
                <a:path w="952500" h="1536700">
                  <a:moveTo>
                    <a:pt x="329913" y="127000"/>
                  </a:moveTo>
                  <a:lnTo>
                    <a:pt x="240093" y="127000"/>
                  </a:lnTo>
                  <a:lnTo>
                    <a:pt x="326897" y="139700"/>
                  </a:lnTo>
                  <a:lnTo>
                    <a:pt x="329913" y="127000"/>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36" name="object 9">
              <a:extLst>
                <a:ext uri="{FF2B5EF4-FFF2-40B4-BE49-F238E27FC236}">
                  <a16:creationId xmlns:a16="http://schemas.microsoft.com/office/drawing/2014/main" id="{E23B0BEA-ECD4-4DF1-BB5F-FC3B57363032}"/>
                </a:ext>
              </a:extLst>
            </p:cNvPr>
            <p:cNvSpPr/>
            <p:nvPr/>
          </p:nvSpPr>
          <p:spPr>
            <a:xfrm>
              <a:off x="5969544" y="2778324"/>
              <a:ext cx="497205" cy="118300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grp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85469DA4-09B5-42C1-945A-909AD9C085CE}"/>
              </a:ext>
              <a:ext uri="{C183D7F6-B498-43B3-948B-1728B52AA6E4}">
                <adec:decorative xmlns:adec="http://schemas.microsoft.com/office/drawing/2017/decorative" val="1"/>
              </a:ext>
            </a:extLst>
          </p:cNvPr>
          <p:cNvGrpSpPr/>
          <p:nvPr userDrawn="1"/>
        </p:nvGrpSpPr>
        <p:grpSpPr>
          <a:xfrm>
            <a:off x="8799289" y="5651087"/>
            <a:ext cx="396765" cy="927265"/>
            <a:chOff x="8799289" y="5651087"/>
            <a:chExt cx="396765" cy="927265"/>
          </a:xfrm>
        </p:grpSpPr>
        <p:grpSp>
          <p:nvGrpSpPr>
            <p:cNvPr id="38" name="Group 37" descr="Icon of a person holding a newborn baby" title="New Parent">
              <a:extLst>
                <a:ext uri="{FF2B5EF4-FFF2-40B4-BE49-F238E27FC236}">
                  <a16:creationId xmlns:a16="http://schemas.microsoft.com/office/drawing/2014/main" id="{8D7E5BDC-86AA-4A35-B061-AB8762DEF91B}"/>
                </a:ext>
              </a:extLst>
            </p:cNvPr>
            <p:cNvGrpSpPr>
              <a:grpSpLocks noChangeAspect="1"/>
            </p:cNvGrpSpPr>
            <p:nvPr/>
          </p:nvGrpSpPr>
          <p:grpSpPr>
            <a:xfrm>
              <a:off x="8799289" y="5651087"/>
              <a:ext cx="396765" cy="640538"/>
              <a:chOff x="9036285" y="1766858"/>
              <a:chExt cx="951865" cy="1536700"/>
            </a:xfrm>
            <a:solidFill>
              <a:schemeClr val="bg1"/>
            </a:solidFill>
          </p:grpSpPr>
          <p:sp>
            <p:nvSpPr>
              <p:cNvPr id="40" name="object 15">
                <a:extLst>
                  <a:ext uri="{FF2B5EF4-FFF2-40B4-BE49-F238E27FC236}">
                    <a16:creationId xmlns:a16="http://schemas.microsoft.com/office/drawing/2014/main" id="{295ED71E-AECD-42CF-B2AD-89A68838D25F}"/>
                  </a:ext>
                </a:extLst>
              </p:cNvPr>
              <p:cNvSpPr/>
              <p:nvPr/>
            </p:nvSpPr>
            <p:spPr>
              <a:xfrm>
                <a:off x="9036285" y="1766858"/>
                <a:ext cx="951865" cy="1536700"/>
              </a:xfrm>
              <a:custGeom>
                <a:avLst/>
                <a:gdLst/>
                <a:ahLst/>
                <a:cxnLst/>
                <a:rect l="l" t="t" r="r" b="b"/>
                <a:pathLst>
                  <a:path w="951865" h="1536700">
                    <a:moveTo>
                      <a:pt x="755986" y="762000"/>
                    </a:moveTo>
                    <a:lnTo>
                      <a:pt x="667851" y="762000"/>
                    </a:lnTo>
                    <a:lnTo>
                      <a:pt x="714161" y="800100"/>
                    </a:lnTo>
                    <a:lnTo>
                      <a:pt x="755223" y="825500"/>
                    </a:lnTo>
                    <a:lnTo>
                      <a:pt x="791018" y="863600"/>
                    </a:lnTo>
                    <a:lnTo>
                      <a:pt x="821528" y="901700"/>
                    </a:lnTo>
                    <a:lnTo>
                      <a:pt x="846735" y="939800"/>
                    </a:lnTo>
                    <a:lnTo>
                      <a:pt x="866620" y="990600"/>
                    </a:lnTo>
                    <a:lnTo>
                      <a:pt x="881165" y="1041400"/>
                    </a:lnTo>
                    <a:lnTo>
                      <a:pt x="890353" y="1092200"/>
                    </a:lnTo>
                    <a:lnTo>
                      <a:pt x="894165" y="1143000"/>
                    </a:lnTo>
                    <a:lnTo>
                      <a:pt x="894950" y="1193800"/>
                    </a:lnTo>
                    <a:lnTo>
                      <a:pt x="895221" y="1231900"/>
                    </a:lnTo>
                    <a:lnTo>
                      <a:pt x="895331" y="1308100"/>
                    </a:lnTo>
                    <a:lnTo>
                      <a:pt x="895225" y="1346200"/>
                    </a:lnTo>
                    <a:lnTo>
                      <a:pt x="895003" y="1397000"/>
                    </a:lnTo>
                    <a:lnTo>
                      <a:pt x="894815" y="1447800"/>
                    </a:lnTo>
                    <a:lnTo>
                      <a:pt x="894774" y="1498600"/>
                    </a:lnTo>
                    <a:lnTo>
                      <a:pt x="894991" y="1511300"/>
                    </a:lnTo>
                    <a:lnTo>
                      <a:pt x="895489" y="1524000"/>
                    </a:lnTo>
                    <a:lnTo>
                      <a:pt x="896096" y="1536700"/>
                    </a:lnTo>
                    <a:lnTo>
                      <a:pt x="951188" y="1536700"/>
                    </a:lnTo>
                    <a:lnTo>
                      <a:pt x="951246" y="1485900"/>
                    </a:lnTo>
                    <a:lnTo>
                      <a:pt x="951678" y="1346200"/>
                    </a:lnTo>
                    <a:lnTo>
                      <a:pt x="951561" y="1231900"/>
                    </a:lnTo>
                    <a:lnTo>
                      <a:pt x="951345" y="1193800"/>
                    </a:lnTo>
                    <a:lnTo>
                      <a:pt x="950807" y="1143000"/>
                    </a:lnTo>
                    <a:lnTo>
                      <a:pt x="948076" y="1092200"/>
                    </a:lnTo>
                    <a:lnTo>
                      <a:pt x="941212" y="1041400"/>
                    </a:lnTo>
                    <a:lnTo>
                      <a:pt x="930166" y="1003300"/>
                    </a:lnTo>
                    <a:lnTo>
                      <a:pt x="914888" y="952500"/>
                    </a:lnTo>
                    <a:lnTo>
                      <a:pt x="895329" y="914400"/>
                    </a:lnTo>
                    <a:lnTo>
                      <a:pt x="871439" y="876300"/>
                    </a:lnTo>
                    <a:lnTo>
                      <a:pt x="843169" y="838200"/>
                    </a:lnTo>
                    <a:lnTo>
                      <a:pt x="810467" y="800100"/>
                    </a:lnTo>
                    <a:lnTo>
                      <a:pt x="773286" y="774700"/>
                    </a:lnTo>
                    <a:lnTo>
                      <a:pt x="755986" y="762000"/>
                    </a:lnTo>
                    <a:close/>
                  </a:path>
                  <a:path w="951865" h="1536700">
                    <a:moveTo>
                      <a:pt x="626716" y="673100"/>
                    </a:moveTo>
                    <a:lnTo>
                      <a:pt x="326488" y="673100"/>
                    </a:lnTo>
                    <a:lnTo>
                      <a:pt x="327554" y="685800"/>
                    </a:lnTo>
                    <a:lnTo>
                      <a:pt x="314092" y="685800"/>
                    </a:lnTo>
                    <a:lnTo>
                      <a:pt x="307031" y="698500"/>
                    </a:lnTo>
                    <a:lnTo>
                      <a:pt x="258295" y="711200"/>
                    </a:lnTo>
                    <a:lnTo>
                      <a:pt x="213668" y="749300"/>
                    </a:lnTo>
                    <a:lnTo>
                      <a:pt x="173169" y="774700"/>
                    </a:lnTo>
                    <a:lnTo>
                      <a:pt x="136817" y="800100"/>
                    </a:lnTo>
                    <a:lnTo>
                      <a:pt x="104630" y="838200"/>
                    </a:lnTo>
                    <a:lnTo>
                      <a:pt x="76629" y="876300"/>
                    </a:lnTo>
                    <a:lnTo>
                      <a:pt x="52833" y="927100"/>
                    </a:lnTo>
                    <a:lnTo>
                      <a:pt x="33260" y="965200"/>
                    </a:lnTo>
                    <a:lnTo>
                      <a:pt x="17929" y="1016000"/>
                    </a:lnTo>
                    <a:lnTo>
                      <a:pt x="6860" y="1066800"/>
                    </a:lnTo>
                    <a:lnTo>
                      <a:pt x="72" y="1117600"/>
                    </a:lnTo>
                    <a:lnTo>
                      <a:pt x="0" y="1143000"/>
                    </a:lnTo>
                    <a:lnTo>
                      <a:pt x="4444" y="1155700"/>
                    </a:lnTo>
                    <a:lnTo>
                      <a:pt x="15056" y="1168400"/>
                    </a:lnTo>
                    <a:lnTo>
                      <a:pt x="33486" y="1168400"/>
                    </a:lnTo>
                    <a:lnTo>
                      <a:pt x="159994" y="1206500"/>
                    </a:lnTo>
                    <a:lnTo>
                      <a:pt x="202066" y="1231900"/>
                    </a:lnTo>
                    <a:lnTo>
                      <a:pt x="471115" y="1308100"/>
                    </a:lnTo>
                    <a:lnTo>
                      <a:pt x="520844" y="1320800"/>
                    </a:lnTo>
                    <a:lnTo>
                      <a:pt x="565968" y="1308100"/>
                    </a:lnTo>
                    <a:lnTo>
                      <a:pt x="602124" y="1282700"/>
                    </a:lnTo>
                    <a:lnTo>
                      <a:pt x="609733" y="1270000"/>
                    </a:lnTo>
                    <a:lnTo>
                      <a:pt x="511184" y="1270000"/>
                    </a:lnTo>
                    <a:lnTo>
                      <a:pt x="509870" y="1244600"/>
                    </a:lnTo>
                    <a:lnTo>
                      <a:pt x="447760" y="1244600"/>
                    </a:lnTo>
                    <a:lnTo>
                      <a:pt x="346122" y="1219200"/>
                    </a:lnTo>
                    <a:lnTo>
                      <a:pt x="368419" y="1181100"/>
                    </a:lnTo>
                    <a:lnTo>
                      <a:pt x="254821" y="1181100"/>
                    </a:lnTo>
                    <a:lnTo>
                      <a:pt x="215839" y="1168400"/>
                    </a:lnTo>
                    <a:lnTo>
                      <a:pt x="184070" y="1155700"/>
                    </a:lnTo>
                    <a:lnTo>
                      <a:pt x="169704" y="1130300"/>
                    </a:lnTo>
                    <a:lnTo>
                      <a:pt x="79270" y="1130300"/>
                    </a:lnTo>
                    <a:lnTo>
                      <a:pt x="66345" y="1117600"/>
                    </a:lnTo>
                    <a:lnTo>
                      <a:pt x="60629" y="1104900"/>
                    </a:lnTo>
                    <a:lnTo>
                      <a:pt x="61159" y="1079500"/>
                    </a:lnTo>
                    <a:lnTo>
                      <a:pt x="70939" y="1028700"/>
                    </a:lnTo>
                    <a:lnTo>
                      <a:pt x="86150" y="990600"/>
                    </a:lnTo>
                    <a:lnTo>
                      <a:pt x="106776" y="939800"/>
                    </a:lnTo>
                    <a:lnTo>
                      <a:pt x="132800" y="901700"/>
                    </a:lnTo>
                    <a:lnTo>
                      <a:pt x="167204" y="850900"/>
                    </a:lnTo>
                    <a:lnTo>
                      <a:pt x="206477" y="812800"/>
                    </a:lnTo>
                    <a:lnTo>
                      <a:pt x="251006" y="787400"/>
                    </a:lnTo>
                    <a:lnTo>
                      <a:pt x="301176" y="762000"/>
                    </a:lnTo>
                    <a:lnTo>
                      <a:pt x="371735" y="762000"/>
                    </a:lnTo>
                    <a:lnTo>
                      <a:pt x="359457" y="736600"/>
                    </a:lnTo>
                    <a:lnTo>
                      <a:pt x="406453" y="723900"/>
                    </a:lnTo>
                    <a:lnTo>
                      <a:pt x="702177" y="723900"/>
                    </a:lnTo>
                    <a:lnTo>
                      <a:pt x="626716" y="673100"/>
                    </a:lnTo>
                    <a:close/>
                  </a:path>
                  <a:path w="951865" h="1536700">
                    <a:moveTo>
                      <a:pt x="608513" y="1130300"/>
                    </a:moveTo>
                    <a:lnTo>
                      <a:pt x="503957" y="1130300"/>
                    </a:lnTo>
                    <a:lnTo>
                      <a:pt x="531960" y="1143000"/>
                    </a:lnTo>
                    <a:lnTo>
                      <a:pt x="553106" y="1155700"/>
                    </a:lnTo>
                    <a:lnTo>
                      <a:pt x="566804" y="1168400"/>
                    </a:lnTo>
                    <a:lnTo>
                      <a:pt x="572461" y="1193800"/>
                    </a:lnTo>
                    <a:lnTo>
                      <a:pt x="569800" y="1219200"/>
                    </a:lnTo>
                    <a:lnTo>
                      <a:pt x="558858" y="1244600"/>
                    </a:lnTo>
                    <a:lnTo>
                      <a:pt x="539398" y="1257300"/>
                    </a:lnTo>
                    <a:lnTo>
                      <a:pt x="511184" y="1270000"/>
                    </a:lnTo>
                    <a:lnTo>
                      <a:pt x="609733" y="1270000"/>
                    </a:lnTo>
                    <a:lnTo>
                      <a:pt x="624950" y="1244600"/>
                    </a:lnTo>
                    <a:lnTo>
                      <a:pt x="630924" y="1193800"/>
                    </a:lnTo>
                    <a:lnTo>
                      <a:pt x="618356" y="1143000"/>
                    </a:lnTo>
                    <a:lnTo>
                      <a:pt x="608513" y="1130300"/>
                    </a:lnTo>
                    <a:close/>
                  </a:path>
                  <a:path w="951865" h="1536700">
                    <a:moveTo>
                      <a:pt x="588828" y="1104900"/>
                    </a:moveTo>
                    <a:lnTo>
                      <a:pt x="413013" y="1104900"/>
                    </a:lnTo>
                    <a:lnTo>
                      <a:pt x="434839" y="1117600"/>
                    </a:lnTo>
                    <a:lnTo>
                      <a:pt x="447574" y="1143000"/>
                    </a:lnTo>
                    <a:lnTo>
                      <a:pt x="451716" y="1181100"/>
                    </a:lnTo>
                    <a:lnTo>
                      <a:pt x="447760" y="1244600"/>
                    </a:lnTo>
                    <a:lnTo>
                      <a:pt x="509870" y="1244600"/>
                    </a:lnTo>
                    <a:lnTo>
                      <a:pt x="503957" y="1130300"/>
                    </a:lnTo>
                    <a:lnTo>
                      <a:pt x="608513" y="1130300"/>
                    </a:lnTo>
                    <a:lnTo>
                      <a:pt x="588828" y="1104900"/>
                    </a:lnTo>
                    <a:close/>
                  </a:path>
                  <a:path w="951865" h="1536700">
                    <a:moveTo>
                      <a:pt x="371509" y="977900"/>
                    </a:moveTo>
                    <a:lnTo>
                      <a:pt x="250923" y="977900"/>
                    </a:lnTo>
                    <a:lnTo>
                      <a:pt x="288811" y="990600"/>
                    </a:lnTo>
                    <a:lnTo>
                      <a:pt x="319734" y="1016000"/>
                    </a:lnTo>
                    <a:lnTo>
                      <a:pt x="340566" y="1041400"/>
                    </a:lnTo>
                    <a:lnTo>
                      <a:pt x="348179" y="1079500"/>
                    </a:lnTo>
                    <a:lnTo>
                      <a:pt x="341075" y="1117600"/>
                    </a:lnTo>
                    <a:lnTo>
                      <a:pt x="321493" y="1143000"/>
                    </a:lnTo>
                    <a:lnTo>
                      <a:pt x="291915" y="1168400"/>
                    </a:lnTo>
                    <a:lnTo>
                      <a:pt x="254821" y="1181100"/>
                    </a:lnTo>
                    <a:lnTo>
                      <a:pt x="368419" y="1181100"/>
                    </a:lnTo>
                    <a:lnTo>
                      <a:pt x="413013" y="1104900"/>
                    </a:lnTo>
                    <a:lnTo>
                      <a:pt x="588828" y="1104900"/>
                    </a:lnTo>
                    <a:lnTo>
                      <a:pt x="543924" y="1079500"/>
                    </a:lnTo>
                    <a:lnTo>
                      <a:pt x="521066" y="1079500"/>
                    </a:lnTo>
                    <a:lnTo>
                      <a:pt x="509543" y="1066800"/>
                    </a:lnTo>
                    <a:lnTo>
                      <a:pt x="497988" y="1066800"/>
                    </a:lnTo>
                    <a:lnTo>
                      <a:pt x="459763" y="1054100"/>
                    </a:lnTo>
                    <a:lnTo>
                      <a:pt x="423528" y="1041400"/>
                    </a:lnTo>
                    <a:lnTo>
                      <a:pt x="392904" y="1016000"/>
                    </a:lnTo>
                    <a:lnTo>
                      <a:pt x="371509" y="977900"/>
                    </a:lnTo>
                    <a:close/>
                  </a:path>
                  <a:path w="951865" h="1536700">
                    <a:moveTo>
                      <a:pt x="290400" y="838200"/>
                    </a:moveTo>
                    <a:lnTo>
                      <a:pt x="255266" y="838200"/>
                    </a:lnTo>
                    <a:lnTo>
                      <a:pt x="255559" y="850900"/>
                    </a:lnTo>
                    <a:lnTo>
                      <a:pt x="255439" y="863600"/>
                    </a:lnTo>
                    <a:lnTo>
                      <a:pt x="256464" y="876300"/>
                    </a:lnTo>
                    <a:lnTo>
                      <a:pt x="260194" y="876300"/>
                    </a:lnTo>
                    <a:lnTo>
                      <a:pt x="274521" y="901700"/>
                    </a:lnTo>
                    <a:lnTo>
                      <a:pt x="270258" y="914400"/>
                    </a:lnTo>
                    <a:lnTo>
                      <a:pt x="253889" y="927100"/>
                    </a:lnTo>
                    <a:lnTo>
                      <a:pt x="231898" y="927100"/>
                    </a:lnTo>
                    <a:lnTo>
                      <a:pt x="182392" y="939800"/>
                    </a:lnTo>
                    <a:lnTo>
                      <a:pt x="143211" y="965200"/>
                    </a:lnTo>
                    <a:lnTo>
                      <a:pt x="115616" y="1003300"/>
                    </a:lnTo>
                    <a:lnTo>
                      <a:pt x="100871" y="1054100"/>
                    </a:lnTo>
                    <a:lnTo>
                      <a:pt x="100237" y="1104900"/>
                    </a:lnTo>
                    <a:lnTo>
                      <a:pt x="101190" y="1117600"/>
                    </a:lnTo>
                    <a:lnTo>
                      <a:pt x="100364" y="1117600"/>
                    </a:lnTo>
                    <a:lnTo>
                      <a:pt x="100364" y="1130300"/>
                    </a:lnTo>
                    <a:lnTo>
                      <a:pt x="169704" y="1130300"/>
                    </a:lnTo>
                    <a:lnTo>
                      <a:pt x="162521" y="1117600"/>
                    </a:lnTo>
                    <a:lnTo>
                      <a:pt x="154199" y="1079500"/>
                    </a:lnTo>
                    <a:lnTo>
                      <a:pt x="161554" y="1041400"/>
                    </a:lnTo>
                    <a:lnTo>
                      <a:pt x="182577" y="1016000"/>
                    </a:lnTo>
                    <a:lnTo>
                      <a:pt x="213592" y="990600"/>
                    </a:lnTo>
                    <a:lnTo>
                      <a:pt x="250923" y="977900"/>
                    </a:lnTo>
                    <a:lnTo>
                      <a:pt x="369121" y="977900"/>
                    </a:lnTo>
                    <a:lnTo>
                      <a:pt x="361667" y="965200"/>
                    </a:lnTo>
                    <a:lnTo>
                      <a:pt x="355075" y="965200"/>
                    </a:lnTo>
                    <a:lnTo>
                      <a:pt x="342560" y="952500"/>
                    </a:lnTo>
                    <a:lnTo>
                      <a:pt x="334782" y="939800"/>
                    </a:lnTo>
                    <a:lnTo>
                      <a:pt x="331588" y="927100"/>
                    </a:lnTo>
                    <a:lnTo>
                      <a:pt x="332825" y="914400"/>
                    </a:lnTo>
                    <a:lnTo>
                      <a:pt x="331345" y="876300"/>
                    </a:lnTo>
                    <a:lnTo>
                      <a:pt x="316482" y="863600"/>
                    </a:lnTo>
                    <a:lnTo>
                      <a:pt x="290400" y="838200"/>
                    </a:lnTo>
                    <a:close/>
                  </a:path>
                  <a:path w="951865" h="1536700">
                    <a:moveTo>
                      <a:pt x="371735" y="762000"/>
                    </a:moveTo>
                    <a:lnTo>
                      <a:pt x="301176" y="762000"/>
                    </a:lnTo>
                    <a:lnTo>
                      <a:pt x="323961" y="800100"/>
                    </a:lnTo>
                    <a:lnTo>
                      <a:pt x="352637" y="838200"/>
                    </a:lnTo>
                    <a:lnTo>
                      <a:pt x="387537" y="863600"/>
                    </a:lnTo>
                    <a:lnTo>
                      <a:pt x="428993" y="889000"/>
                    </a:lnTo>
                    <a:lnTo>
                      <a:pt x="524677" y="889000"/>
                    </a:lnTo>
                    <a:lnTo>
                      <a:pt x="565133" y="863600"/>
                    </a:lnTo>
                    <a:lnTo>
                      <a:pt x="598981" y="838200"/>
                    </a:lnTo>
                    <a:lnTo>
                      <a:pt x="481694" y="838200"/>
                    </a:lnTo>
                    <a:lnTo>
                      <a:pt x="441188" y="825500"/>
                    </a:lnTo>
                    <a:lnTo>
                      <a:pt x="405850" y="812800"/>
                    </a:lnTo>
                    <a:lnTo>
                      <a:pt x="377874" y="774700"/>
                    </a:lnTo>
                    <a:lnTo>
                      <a:pt x="371735" y="762000"/>
                    </a:lnTo>
                    <a:close/>
                  </a:path>
                  <a:path w="951865" h="1536700">
                    <a:moveTo>
                      <a:pt x="702177" y="723900"/>
                    </a:moveTo>
                    <a:lnTo>
                      <a:pt x="544528" y="723900"/>
                    </a:lnTo>
                    <a:lnTo>
                      <a:pt x="590178" y="736600"/>
                    </a:lnTo>
                    <a:lnTo>
                      <a:pt x="576603" y="774700"/>
                    </a:lnTo>
                    <a:lnTo>
                      <a:pt x="552595" y="800100"/>
                    </a:lnTo>
                    <a:lnTo>
                      <a:pt x="520258" y="825500"/>
                    </a:lnTo>
                    <a:lnTo>
                      <a:pt x="481694" y="838200"/>
                    </a:lnTo>
                    <a:lnTo>
                      <a:pt x="598981" y="838200"/>
                    </a:lnTo>
                    <a:lnTo>
                      <a:pt x="626495" y="800100"/>
                    </a:lnTo>
                    <a:lnTo>
                      <a:pt x="647950" y="762000"/>
                    </a:lnTo>
                    <a:lnTo>
                      <a:pt x="755986" y="762000"/>
                    </a:lnTo>
                    <a:lnTo>
                      <a:pt x="738685" y="749300"/>
                    </a:lnTo>
                    <a:lnTo>
                      <a:pt x="702177" y="723900"/>
                    </a:lnTo>
                    <a:close/>
                  </a:path>
                  <a:path w="951865" h="1536700">
                    <a:moveTo>
                      <a:pt x="601701" y="12700"/>
                    </a:moveTo>
                    <a:lnTo>
                      <a:pt x="432560" y="12700"/>
                    </a:lnTo>
                    <a:lnTo>
                      <a:pt x="396401" y="25400"/>
                    </a:lnTo>
                    <a:lnTo>
                      <a:pt x="351709" y="38100"/>
                    </a:lnTo>
                    <a:lnTo>
                      <a:pt x="311077" y="63500"/>
                    </a:lnTo>
                    <a:lnTo>
                      <a:pt x="275013" y="88900"/>
                    </a:lnTo>
                    <a:lnTo>
                      <a:pt x="244027" y="114300"/>
                    </a:lnTo>
                    <a:lnTo>
                      <a:pt x="218625" y="152400"/>
                    </a:lnTo>
                    <a:lnTo>
                      <a:pt x="199317" y="190500"/>
                    </a:lnTo>
                    <a:lnTo>
                      <a:pt x="186610" y="241300"/>
                    </a:lnTo>
                    <a:lnTo>
                      <a:pt x="180155" y="304800"/>
                    </a:lnTo>
                    <a:lnTo>
                      <a:pt x="179520" y="342900"/>
                    </a:lnTo>
                    <a:lnTo>
                      <a:pt x="178710" y="381000"/>
                    </a:lnTo>
                    <a:lnTo>
                      <a:pt x="179644" y="431800"/>
                    </a:lnTo>
                    <a:lnTo>
                      <a:pt x="186812" y="482600"/>
                    </a:lnTo>
                    <a:lnTo>
                      <a:pt x="200475" y="520700"/>
                    </a:lnTo>
                    <a:lnTo>
                      <a:pt x="220895" y="571500"/>
                    </a:lnTo>
                    <a:lnTo>
                      <a:pt x="248334" y="609600"/>
                    </a:lnTo>
                    <a:lnTo>
                      <a:pt x="283055" y="647700"/>
                    </a:lnTo>
                    <a:lnTo>
                      <a:pt x="325319" y="673100"/>
                    </a:lnTo>
                    <a:lnTo>
                      <a:pt x="637663" y="673100"/>
                    </a:lnTo>
                    <a:lnTo>
                      <a:pt x="643886" y="660400"/>
                    </a:lnTo>
                    <a:lnTo>
                      <a:pt x="466044" y="660400"/>
                    </a:lnTo>
                    <a:lnTo>
                      <a:pt x="421727" y="647700"/>
                    </a:lnTo>
                    <a:lnTo>
                      <a:pt x="380584" y="635000"/>
                    </a:lnTo>
                    <a:lnTo>
                      <a:pt x="343266" y="622300"/>
                    </a:lnTo>
                    <a:lnTo>
                      <a:pt x="310423" y="596900"/>
                    </a:lnTo>
                    <a:lnTo>
                      <a:pt x="282705" y="558800"/>
                    </a:lnTo>
                    <a:lnTo>
                      <a:pt x="260762" y="520700"/>
                    </a:lnTo>
                    <a:lnTo>
                      <a:pt x="245246" y="482600"/>
                    </a:lnTo>
                    <a:lnTo>
                      <a:pt x="241495" y="457200"/>
                    </a:lnTo>
                    <a:lnTo>
                      <a:pt x="239040" y="444500"/>
                    </a:lnTo>
                    <a:lnTo>
                      <a:pt x="237136" y="419100"/>
                    </a:lnTo>
                    <a:lnTo>
                      <a:pt x="235035" y="406400"/>
                    </a:lnTo>
                    <a:lnTo>
                      <a:pt x="237003" y="406400"/>
                    </a:lnTo>
                    <a:lnTo>
                      <a:pt x="237145" y="393700"/>
                    </a:lnTo>
                    <a:lnTo>
                      <a:pt x="237365" y="393700"/>
                    </a:lnTo>
                    <a:lnTo>
                      <a:pt x="237357" y="381000"/>
                    </a:lnTo>
                    <a:lnTo>
                      <a:pt x="236813" y="381000"/>
                    </a:lnTo>
                    <a:lnTo>
                      <a:pt x="237180" y="355600"/>
                    </a:lnTo>
                    <a:lnTo>
                      <a:pt x="243760" y="342900"/>
                    </a:lnTo>
                    <a:lnTo>
                      <a:pt x="514053" y="342900"/>
                    </a:lnTo>
                    <a:lnTo>
                      <a:pt x="573623" y="317500"/>
                    </a:lnTo>
                    <a:lnTo>
                      <a:pt x="776380" y="317500"/>
                    </a:lnTo>
                    <a:lnTo>
                      <a:pt x="776197" y="292100"/>
                    </a:lnTo>
                    <a:lnTo>
                      <a:pt x="241423" y="292100"/>
                    </a:lnTo>
                    <a:lnTo>
                      <a:pt x="245585" y="241300"/>
                    </a:lnTo>
                    <a:lnTo>
                      <a:pt x="258567" y="203200"/>
                    </a:lnTo>
                    <a:lnTo>
                      <a:pt x="279694" y="165100"/>
                    </a:lnTo>
                    <a:lnTo>
                      <a:pt x="308291" y="127000"/>
                    </a:lnTo>
                    <a:lnTo>
                      <a:pt x="343683" y="101600"/>
                    </a:lnTo>
                    <a:lnTo>
                      <a:pt x="385195" y="88900"/>
                    </a:lnTo>
                    <a:lnTo>
                      <a:pt x="432152" y="76200"/>
                    </a:lnTo>
                    <a:lnTo>
                      <a:pt x="457004" y="76200"/>
                    </a:lnTo>
                    <a:lnTo>
                      <a:pt x="482047" y="63500"/>
                    </a:lnTo>
                    <a:lnTo>
                      <a:pt x="641943" y="63500"/>
                    </a:lnTo>
                    <a:lnTo>
                      <a:pt x="624404" y="38100"/>
                    </a:lnTo>
                    <a:lnTo>
                      <a:pt x="601701" y="12700"/>
                    </a:lnTo>
                    <a:close/>
                  </a:path>
                  <a:path w="951865" h="1536700">
                    <a:moveTo>
                      <a:pt x="776380" y="317500"/>
                    </a:moveTo>
                    <a:lnTo>
                      <a:pt x="647963" y="317500"/>
                    </a:lnTo>
                    <a:lnTo>
                      <a:pt x="655845" y="330200"/>
                    </a:lnTo>
                    <a:lnTo>
                      <a:pt x="663990" y="330200"/>
                    </a:lnTo>
                    <a:lnTo>
                      <a:pt x="697445" y="342900"/>
                    </a:lnTo>
                    <a:lnTo>
                      <a:pt x="714344" y="355600"/>
                    </a:lnTo>
                    <a:lnTo>
                      <a:pt x="719820" y="381000"/>
                    </a:lnTo>
                    <a:lnTo>
                      <a:pt x="719006" y="419100"/>
                    </a:lnTo>
                    <a:lnTo>
                      <a:pt x="711796" y="469900"/>
                    </a:lnTo>
                    <a:lnTo>
                      <a:pt x="695472" y="520700"/>
                    </a:lnTo>
                    <a:lnTo>
                      <a:pt x="671056" y="558800"/>
                    </a:lnTo>
                    <a:lnTo>
                      <a:pt x="639568" y="596900"/>
                    </a:lnTo>
                    <a:lnTo>
                      <a:pt x="602029" y="622300"/>
                    </a:lnTo>
                    <a:lnTo>
                      <a:pt x="559462" y="647700"/>
                    </a:lnTo>
                    <a:lnTo>
                      <a:pt x="512885" y="660400"/>
                    </a:lnTo>
                    <a:lnTo>
                      <a:pt x="643886" y="660400"/>
                    </a:lnTo>
                    <a:lnTo>
                      <a:pt x="682613" y="635000"/>
                    </a:lnTo>
                    <a:lnTo>
                      <a:pt x="714871" y="596900"/>
                    </a:lnTo>
                    <a:lnTo>
                      <a:pt x="740473" y="558800"/>
                    </a:lnTo>
                    <a:lnTo>
                      <a:pt x="759226" y="520700"/>
                    </a:lnTo>
                    <a:lnTo>
                      <a:pt x="770943" y="469900"/>
                    </a:lnTo>
                    <a:lnTo>
                      <a:pt x="775433" y="419100"/>
                    </a:lnTo>
                    <a:lnTo>
                      <a:pt x="776112" y="368300"/>
                    </a:lnTo>
                    <a:lnTo>
                      <a:pt x="776380" y="317500"/>
                    </a:lnTo>
                    <a:close/>
                  </a:path>
                  <a:path w="951865" h="1536700">
                    <a:moveTo>
                      <a:pt x="642718" y="215900"/>
                    </a:moveTo>
                    <a:lnTo>
                      <a:pt x="590457" y="215900"/>
                    </a:lnTo>
                    <a:lnTo>
                      <a:pt x="581072" y="254000"/>
                    </a:lnTo>
                    <a:lnTo>
                      <a:pt x="561571" y="266700"/>
                    </a:lnTo>
                    <a:lnTo>
                      <a:pt x="534479" y="279400"/>
                    </a:lnTo>
                    <a:lnTo>
                      <a:pt x="502319" y="292100"/>
                    </a:lnTo>
                    <a:lnTo>
                      <a:pt x="776197" y="292100"/>
                    </a:lnTo>
                    <a:lnTo>
                      <a:pt x="776105" y="279400"/>
                    </a:lnTo>
                    <a:lnTo>
                      <a:pt x="685469" y="279400"/>
                    </a:lnTo>
                    <a:lnTo>
                      <a:pt x="665251" y="266700"/>
                    </a:lnTo>
                    <a:lnTo>
                      <a:pt x="651533" y="241300"/>
                    </a:lnTo>
                    <a:lnTo>
                      <a:pt x="642718" y="215900"/>
                    </a:lnTo>
                    <a:close/>
                  </a:path>
                  <a:path w="951865" h="1536700">
                    <a:moveTo>
                      <a:pt x="641943" y="63500"/>
                    </a:moveTo>
                    <a:lnTo>
                      <a:pt x="561677" y="63500"/>
                    </a:lnTo>
                    <a:lnTo>
                      <a:pt x="579422" y="76200"/>
                    </a:lnTo>
                    <a:lnTo>
                      <a:pt x="589026" y="88900"/>
                    </a:lnTo>
                    <a:lnTo>
                      <a:pt x="593937" y="114300"/>
                    </a:lnTo>
                    <a:lnTo>
                      <a:pt x="594610" y="127000"/>
                    </a:lnTo>
                    <a:lnTo>
                      <a:pt x="595524" y="127000"/>
                    </a:lnTo>
                    <a:lnTo>
                      <a:pt x="596274" y="139700"/>
                    </a:lnTo>
                    <a:lnTo>
                      <a:pt x="655209" y="139700"/>
                    </a:lnTo>
                    <a:lnTo>
                      <a:pt x="692831" y="152400"/>
                    </a:lnTo>
                    <a:lnTo>
                      <a:pt x="712738" y="177800"/>
                    </a:lnTo>
                    <a:lnTo>
                      <a:pt x="718524" y="228600"/>
                    </a:lnTo>
                    <a:lnTo>
                      <a:pt x="713787" y="279400"/>
                    </a:lnTo>
                    <a:lnTo>
                      <a:pt x="776105" y="279400"/>
                    </a:lnTo>
                    <a:lnTo>
                      <a:pt x="774785" y="215900"/>
                    </a:lnTo>
                    <a:lnTo>
                      <a:pt x="767687" y="165100"/>
                    </a:lnTo>
                    <a:lnTo>
                      <a:pt x="718196" y="101600"/>
                    </a:lnTo>
                    <a:lnTo>
                      <a:pt x="673350" y="88900"/>
                    </a:lnTo>
                    <a:lnTo>
                      <a:pt x="664024" y="88900"/>
                    </a:lnTo>
                    <a:lnTo>
                      <a:pt x="654970" y="76200"/>
                    </a:lnTo>
                    <a:lnTo>
                      <a:pt x="647254" y="76200"/>
                    </a:lnTo>
                    <a:lnTo>
                      <a:pt x="641943" y="63500"/>
                    </a:lnTo>
                    <a:close/>
                  </a:path>
                  <a:path w="951865" h="1536700">
                    <a:moveTo>
                      <a:pt x="544039" y="0"/>
                    </a:moveTo>
                    <a:lnTo>
                      <a:pt x="506765" y="12700"/>
                    </a:lnTo>
                    <a:lnTo>
                      <a:pt x="574643" y="12700"/>
                    </a:lnTo>
                    <a:lnTo>
                      <a:pt x="5440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1" name="object 21">
                <a:extLst>
                  <a:ext uri="{FF2B5EF4-FFF2-40B4-BE49-F238E27FC236}">
                    <a16:creationId xmlns:a16="http://schemas.microsoft.com/office/drawing/2014/main" id="{A6F38094-3668-4ED6-B9D7-B864C5E7EC8D}"/>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2" name="object 22">
                <a:extLst>
                  <a:ext uri="{FF2B5EF4-FFF2-40B4-BE49-F238E27FC236}">
                    <a16:creationId xmlns:a16="http://schemas.microsoft.com/office/drawing/2014/main" id="{6A0B7F2E-0D91-4EBC-A950-7F276C5B1196}"/>
                  </a:ext>
                </a:extLst>
              </p:cNvPr>
              <p:cNvSpPr/>
              <p:nvPr/>
            </p:nvSpPr>
            <p:spPr>
              <a:xfrm>
                <a:off x="9432652" y="2248955"/>
                <a:ext cx="162560" cy="77470"/>
              </a:xfrm>
              <a:custGeom>
                <a:avLst/>
                <a:gdLst/>
                <a:ahLst/>
                <a:cxnLst/>
                <a:rect l="l" t="t" r="r" b="b"/>
                <a:pathLst>
                  <a:path w="162559" h="77469">
                    <a:moveTo>
                      <a:pt x="162471" y="0"/>
                    </a:moveTo>
                    <a:lnTo>
                      <a:pt x="0" y="0"/>
                    </a:lnTo>
                    <a:lnTo>
                      <a:pt x="12007" y="34291"/>
                    </a:lnTo>
                    <a:lnTo>
                      <a:pt x="29825" y="58391"/>
                    </a:lnTo>
                    <a:lnTo>
                      <a:pt x="53349" y="72523"/>
                    </a:lnTo>
                    <a:lnTo>
                      <a:pt x="82473" y="76911"/>
                    </a:lnTo>
                    <a:lnTo>
                      <a:pt x="111911" y="71780"/>
                    </a:lnTo>
                    <a:lnTo>
                      <a:pt x="135226" y="57238"/>
                    </a:lnTo>
                    <a:lnTo>
                      <a:pt x="152164" y="33305"/>
                    </a:lnTo>
                    <a:lnTo>
                      <a:pt x="162471"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bject 23">
                <a:extLst>
                  <a:ext uri="{FF2B5EF4-FFF2-40B4-BE49-F238E27FC236}">
                    <a16:creationId xmlns:a16="http://schemas.microsoft.com/office/drawing/2014/main" id="{A2B3371B-D963-457B-8D1B-89C00780388B}"/>
                  </a:ext>
                </a:extLst>
              </p:cNvPr>
              <p:cNvSpPr/>
              <p:nvPr/>
            </p:nvSpPr>
            <p:spPr>
              <a:xfrm>
                <a:off x="9305932" y="2807844"/>
                <a:ext cx="50800" cy="66040"/>
              </a:xfrm>
              <a:custGeom>
                <a:avLst/>
                <a:gdLst/>
                <a:ahLst/>
                <a:cxnLst/>
                <a:rect l="l" t="t" r="r" b="b"/>
                <a:pathLst>
                  <a:path w="50800" h="66039">
                    <a:moveTo>
                      <a:pt x="27139" y="0"/>
                    </a:moveTo>
                    <a:lnTo>
                      <a:pt x="18384" y="3735"/>
                    </a:lnTo>
                    <a:lnTo>
                      <a:pt x="9836" y="9983"/>
                    </a:lnTo>
                    <a:lnTo>
                      <a:pt x="3154" y="17568"/>
                    </a:lnTo>
                    <a:lnTo>
                      <a:pt x="0" y="25311"/>
                    </a:lnTo>
                    <a:lnTo>
                      <a:pt x="1843" y="32890"/>
                    </a:lnTo>
                    <a:lnTo>
                      <a:pt x="8004" y="41724"/>
                    </a:lnTo>
                    <a:lnTo>
                      <a:pt x="16998" y="52412"/>
                    </a:lnTo>
                    <a:lnTo>
                      <a:pt x="27343" y="65557"/>
                    </a:lnTo>
                    <a:lnTo>
                      <a:pt x="36017" y="52019"/>
                    </a:lnTo>
                    <a:lnTo>
                      <a:pt x="43529" y="41016"/>
                    </a:lnTo>
                    <a:lnTo>
                      <a:pt x="48745" y="31758"/>
                    </a:lnTo>
                    <a:lnTo>
                      <a:pt x="50533" y="23456"/>
                    </a:lnTo>
                    <a:lnTo>
                      <a:pt x="47585" y="15909"/>
                    </a:lnTo>
                    <a:lnTo>
                      <a:pt x="40970" y="7899"/>
                    </a:lnTo>
                    <a:lnTo>
                      <a:pt x="33288" y="1804"/>
                    </a:lnTo>
                    <a:lnTo>
                      <a:pt x="27139" y="0"/>
                    </a:lnTo>
                    <a:close/>
                  </a:path>
                </a:pathLst>
              </a:custGeom>
              <a:grpFill/>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object 9">
              <a:extLst>
                <a:ext uri="{FF2B5EF4-FFF2-40B4-BE49-F238E27FC236}">
                  <a16:creationId xmlns:a16="http://schemas.microsoft.com/office/drawing/2014/main" id="{DC8B08C8-6479-49F3-8D6C-F8C837F63A11}"/>
                </a:ext>
              </a:extLst>
            </p:cNvPr>
            <p:cNvSpPr/>
            <p:nvPr/>
          </p:nvSpPr>
          <p:spPr>
            <a:xfrm>
              <a:off x="8901170" y="6084617"/>
              <a:ext cx="207512" cy="493735"/>
            </a:xfrm>
            <a:custGeom>
              <a:avLst/>
              <a:gdLst/>
              <a:ahLst/>
              <a:cxnLst/>
              <a:rect l="l" t="t" r="r" b="b"/>
              <a:pathLst>
                <a:path w="497204" h="1183004">
                  <a:moveTo>
                    <a:pt x="54101" y="311454"/>
                  </a:moveTo>
                  <a:lnTo>
                    <a:pt x="0" y="311454"/>
                  </a:lnTo>
                  <a:lnTo>
                    <a:pt x="0" y="1182509"/>
                  </a:lnTo>
                  <a:lnTo>
                    <a:pt x="55079" y="1182509"/>
                  </a:lnTo>
                  <a:lnTo>
                    <a:pt x="55079" y="599186"/>
                  </a:lnTo>
                  <a:lnTo>
                    <a:pt x="340546" y="599186"/>
                  </a:lnTo>
                  <a:lnTo>
                    <a:pt x="403326" y="598411"/>
                  </a:lnTo>
                  <a:lnTo>
                    <a:pt x="497039" y="598411"/>
                  </a:lnTo>
                  <a:lnTo>
                    <a:pt x="497039" y="541337"/>
                  </a:lnTo>
                  <a:lnTo>
                    <a:pt x="395858" y="541337"/>
                  </a:lnTo>
                  <a:lnTo>
                    <a:pt x="335893" y="540486"/>
                  </a:lnTo>
                  <a:lnTo>
                    <a:pt x="100622" y="540486"/>
                  </a:lnTo>
                  <a:lnTo>
                    <a:pt x="89886" y="540204"/>
                  </a:lnTo>
                  <a:lnTo>
                    <a:pt x="78795" y="539526"/>
                  </a:lnTo>
                  <a:lnTo>
                    <a:pt x="54101" y="537756"/>
                  </a:lnTo>
                  <a:lnTo>
                    <a:pt x="54101" y="311454"/>
                  </a:lnTo>
                  <a:close/>
                </a:path>
                <a:path w="497204" h="1183004">
                  <a:moveTo>
                    <a:pt x="497039" y="598411"/>
                  </a:moveTo>
                  <a:lnTo>
                    <a:pt x="403326" y="598411"/>
                  </a:lnTo>
                  <a:lnTo>
                    <a:pt x="423661" y="600366"/>
                  </a:lnTo>
                  <a:lnTo>
                    <a:pt x="435964" y="607534"/>
                  </a:lnTo>
                  <a:lnTo>
                    <a:pt x="441986" y="620587"/>
                  </a:lnTo>
                  <a:lnTo>
                    <a:pt x="443483" y="640194"/>
                  </a:lnTo>
                  <a:lnTo>
                    <a:pt x="443148" y="689938"/>
                  </a:lnTo>
                  <a:lnTo>
                    <a:pt x="442916" y="739683"/>
                  </a:lnTo>
                  <a:lnTo>
                    <a:pt x="442772" y="789430"/>
                  </a:lnTo>
                  <a:lnTo>
                    <a:pt x="442704" y="938673"/>
                  </a:lnTo>
                  <a:lnTo>
                    <a:pt x="442861" y="1181341"/>
                  </a:lnTo>
                  <a:lnTo>
                    <a:pt x="497039" y="1181341"/>
                  </a:lnTo>
                  <a:lnTo>
                    <a:pt x="497039" y="598411"/>
                  </a:lnTo>
                  <a:close/>
                </a:path>
                <a:path w="497204" h="1183004">
                  <a:moveTo>
                    <a:pt x="340546" y="599186"/>
                  </a:moveTo>
                  <a:lnTo>
                    <a:pt x="55079" y="599186"/>
                  </a:lnTo>
                  <a:lnTo>
                    <a:pt x="206354" y="599512"/>
                  </a:lnTo>
                  <a:lnTo>
                    <a:pt x="340546" y="599186"/>
                  </a:lnTo>
                  <a:close/>
                </a:path>
                <a:path w="497204" h="1183004">
                  <a:moveTo>
                    <a:pt x="497039" y="0"/>
                  </a:moveTo>
                  <a:lnTo>
                    <a:pt x="444830" y="0"/>
                  </a:lnTo>
                  <a:lnTo>
                    <a:pt x="444225" y="11324"/>
                  </a:lnTo>
                  <a:lnTo>
                    <a:pt x="443614" y="21929"/>
                  </a:lnTo>
                  <a:lnTo>
                    <a:pt x="443140" y="32054"/>
                  </a:lnTo>
                  <a:lnTo>
                    <a:pt x="442950" y="41935"/>
                  </a:lnTo>
                  <a:lnTo>
                    <a:pt x="442868" y="92270"/>
                  </a:lnTo>
                  <a:lnTo>
                    <a:pt x="442591" y="192940"/>
                  </a:lnTo>
                  <a:lnTo>
                    <a:pt x="442517" y="343939"/>
                  </a:lnTo>
                  <a:lnTo>
                    <a:pt x="442750" y="394268"/>
                  </a:lnTo>
                  <a:lnTo>
                    <a:pt x="443181" y="444595"/>
                  </a:lnTo>
                  <a:lnTo>
                    <a:pt x="443852" y="494919"/>
                  </a:lnTo>
                  <a:lnTo>
                    <a:pt x="441639" y="518648"/>
                  </a:lnTo>
                  <a:lnTo>
                    <a:pt x="433485" y="532968"/>
                  </a:lnTo>
                  <a:lnTo>
                    <a:pt x="418516" y="539867"/>
                  </a:lnTo>
                  <a:lnTo>
                    <a:pt x="395858" y="541337"/>
                  </a:lnTo>
                  <a:lnTo>
                    <a:pt x="497039" y="541337"/>
                  </a:lnTo>
                  <a:lnTo>
                    <a:pt x="497039" y="0"/>
                  </a:lnTo>
                  <a:close/>
                </a:path>
                <a:path w="497204" h="1183004">
                  <a:moveTo>
                    <a:pt x="248254" y="540207"/>
                  </a:moveTo>
                  <a:lnTo>
                    <a:pt x="100622" y="540486"/>
                  </a:lnTo>
                  <a:lnTo>
                    <a:pt x="335893" y="540486"/>
                  </a:lnTo>
                  <a:lnTo>
                    <a:pt x="248254" y="540207"/>
                  </a:lnTo>
                  <a:close/>
                </a:path>
              </a:pathLst>
            </a:custGeom>
            <a:solidFill>
              <a:schemeClr val="bg1"/>
            </a:solidFill>
            <a:ln>
              <a:noFill/>
            </a:ln>
          </p:spPr>
          <p:txBody>
            <a:bodyPr wrap="square" lIns="0" tIns="0" rIns="0" bIns="0" rtlCol="0"/>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11185765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22" presetClass="entr" presetSubtype="4" fill="hold" nodeType="with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500"/>
                                        <p:tgtEl>
                                          <p:spTgt spid="5"/>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wipe(down)">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 grpId="0" animBg="1"/>
      <p:bldP spid="11" grpId="0" animBg="1"/>
      <p:bldP spid="12" grpId="0" animBg="1"/>
    </p:bldLst>
  </p:timing>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A group of young people, students,  looking at a computer&#10;">
            <a:extLst>
              <a:ext uri="{FF2B5EF4-FFF2-40B4-BE49-F238E27FC236}">
                <a16:creationId xmlns:a16="http://schemas.microsoft.com/office/drawing/2014/main" id="{5AA75CBB-8F34-43C9-991C-DAF5E5D2D16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5334000" y="0"/>
            <a:ext cx="6858000" cy="6858000"/>
          </a:xfrm>
          <a:prstGeom prst="rect">
            <a:avLst/>
          </a:prstGeom>
        </p:spPr>
      </p:pic>
      <p:pic>
        <p:nvPicPr>
          <p:cNvPr id="9" name="MS logo gray - EMF" descr="Microsoft logo, gray text version">
            <a:extLst>
              <a:ext uri="{FF2B5EF4-FFF2-40B4-BE49-F238E27FC236}">
                <a16:creationId xmlns:a16="http://schemas.microsoft.com/office/drawing/2014/main" id="{918DDF61-9866-4401-A6C3-837240C378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952619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a:extLst>
              <a:ext uri="{FF2B5EF4-FFF2-40B4-BE49-F238E27FC236}">
                <a16:creationId xmlns:a16="http://schemas.microsoft.com/office/drawing/2014/main" id="{1285F101-84E7-425B-BE07-D20731937218}"/>
              </a:ext>
            </a:extLst>
          </p:cNvPr>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bwMode="auto">
          <a:xfrm>
            <a:off x="5334000" y="0"/>
            <a:ext cx="6858000" cy="6858000"/>
          </a:xfrm>
          <a:prstGeom prst="rect">
            <a:avLst/>
          </a:prstGeom>
        </p:spPr>
      </p:pic>
    </p:spTree>
    <p:extLst>
      <p:ext uri="{BB962C8B-B14F-4D97-AF65-F5344CB8AC3E}">
        <p14:creationId xmlns:p14="http://schemas.microsoft.com/office/powerpoint/2010/main" val="192936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D1C228F-BF7B-4607-BEF1-498F319E868C}"/>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a:effectLst/>
        </p:spPr>
      </p:pic>
      <p:sp>
        <p:nvSpPr>
          <p:cNvPr id="9" name="Title 1"/>
          <p:cNvSpPr>
            <a:spLocks noGrp="1"/>
          </p:cNvSpPr>
          <p:nvPr>
            <p:ph type="title" hasCustomPrompt="1"/>
          </p:nvPr>
        </p:nvSpPr>
        <p:spPr>
          <a:xfrm>
            <a:off x="584200" y="4541878"/>
            <a:ext cx="9144000" cy="553998"/>
          </a:xfrm>
          <a:noFill/>
        </p:spPr>
        <p:txBody>
          <a:bodyPr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5524500"/>
            <a:ext cx="9144000" cy="307777"/>
          </a:xfrm>
          <a:noFill/>
        </p:spPr>
        <p:txBody>
          <a:bodyPr wrap="square" lIns="0" tIns="0" rIns="0" bIns="0">
            <a:spAutoFit/>
          </a:bodyPr>
          <a:lstStyle>
            <a:lvl1pPr marL="0" indent="0">
              <a:spcBef>
                <a:spcPts val="0"/>
              </a:spcBef>
              <a:buNone/>
              <a:defRPr sz="20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8C946D13-F1CA-44EB-A8E8-5CC62C9E323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91292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0505587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wiith photo_black text">
    <p:bg>
      <p:bgRef idx="1001">
        <a:schemeClr val="bg1"/>
      </p:bgRef>
    </p:bg>
    <p:spTree>
      <p:nvGrpSpPr>
        <p:cNvPr id="1" name=""/>
        <p:cNvGrpSpPr/>
        <p:nvPr/>
      </p:nvGrpSpPr>
      <p:grpSpPr>
        <a:xfrm>
          <a:off x="0" y="0"/>
          <a:ext cx="0" cy="0"/>
          <a:chOff x="0" y="0"/>
          <a:chExt cx="0" cy="0"/>
        </a:xfrm>
      </p:grpSpPr>
      <p:pic>
        <p:nvPicPr>
          <p:cNvPr id="3" name="Picture 2" descr="A person sitting at a table in front of a window using a pen on a Surface Book folded into tablet mode.&#10;">
            <a:extLst>
              <a:ext uri="{FF2B5EF4-FFF2-40B4-BE49-F238E27FC236}">
                <a16:creationId xmlns:a16="http://schemas.microsoft.com/office/drawing/2014/main" id="{C4F23456-CF30-4F8E-B7F9-2458DD63347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auto">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3CC725DE-C7B6-4C58-AD2C-FED56896EF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307777"/>
          </a:xfrm>
          <a:noFill/>
        </p:spPr>
        <p:txBody>
          <a:bodyPr wrap="square" lIns="0" tIns="0" rIns="0" bIns="0">
            <a:spAutoFit/>
          </a:bodyPr>
          <a:lstStyle>
            <a:lvl1pPr marL="0" indent="0">
              <a:spcBef>
                <a:spcPts val="0"/>
              </a:spcBef>
              <a:buNone/>
              <a:defRPr sz="20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802224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wiith photo_white text">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0880523-D859-42D6-AD3D-09ADCFBB664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0136" y="0"/>
            <a:ext cx="12207636" cy="6858000"/>
          </a:xfrm>
          <a:prstGeom prst="rect">
            <a:avLst/>
          </a:prstGeom>
        </p:spPr>
      </p:pic>
      <p:sp>
        <p:nvSpPr>
          <p:cNvPr id="9" name="Title 1"/>
          <p:cNvSpPr>
            <a:spLocks noGrp="1"/>
          </p:cNvSpPr>
          <p:nvPr>
            <p:ph type="title" hasCustomPrompt="1"/>
          </p:nvPr>
        </p:nvSpPr>
        <p:spPr bwMode="white">
          <a:xfrm>
            <a:off x="584635" y="1840525"/>
            <a:ext cx="9149915" cy="553998"/>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2823147"/>
            <a:ext cx="9150698" cy="307777"/>
          </a:xfrm>
          <a:noFill/>
        </p:spPr>
        <p:txBody>
          <a:bodyPr wrap="square" lIns="0" tIns="0" rIns="0" bIns="0">
            <a:spAutoFit/>
          </a:bodyPr>
          <a:lstStyle>
            <a:lvl1pPr marL="0" indent="0">
              <a:spcBef>
                <a:spcPts val="0"/>
              </a:spcBef>
              <a:buNone/>
              <a:defRPr sz="20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white - EMF" descr="Microsoft logo white text version">
            <a:extLst>
              <a:ext uri="{FF2B5EF4-FFF2-40B4-BE49-F238E27FC236}">
                <a16:creationId xmlns:a16="http://schemas.microsoft.com/office/drawing/2014/main" id="{AA220987-CAF7-45F3-B22A-77038A8D81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5216" y="585788"/>
            <a:ext cx="1366245" cy="292608"/>
          </a:xfrm>
          <a:prstGeom prst="rect">
            <a:avLst/>
          </a:prstGeom>
        </p:spPr>
      </p:pic>
    </p:spTree>
    <p:extLst>
      <p:ext uri="{BB962C8B-B14F-4D97-AF65-F5344CB8AC3E}">
        <p14:creationId xmlns:p14="http://schemas.microsoft.com/office/powerpoint/2010/main" val="2261414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20609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6679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308600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31551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71201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1799633"/>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41862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72397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34830423"/>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875002"/>
            <a:ext cx="4161981" cy="1107996"/>
          </a:xfrm>
        </p:spPr>
        <p:txBody>
          <a:bodyPr wrap="square" rIns="0" anchor="ctr" anchorCtr="0">
            <a:spAutoFit/>
          </a:bodyPr>
          <a:lstStyle>
            <a:lvl1pPr>
              <a:lnSpc>
                <a:spcPct val="100000"/>
              </a:lnSpc>
              <a:defRPr sz="3600" b="0"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561339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7275713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1094094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25251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95416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8670367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2643876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945877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28549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2417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4362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163202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C5F6987-CC3A-4E6C-894C-CBF9ADBA60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667885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79468952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26" Type="http://schemas.openxmlformats.org/officeDocument/2006/relationships/slideLayout" Target="../slideLayouts/slideLayout392.xml"/><Relationship Id="rId39" Type="http://schemas.openxmlformats.org/officeDocument/2006/relationships/image" Target="../media/image1.emf"/><Relationship Id="rId21" Type="http://schemas.openxmlformats.org/officeDocument/2006/relationships/slideLayout" Target="../slideLayouts/slideLayout387.xml"/><Relationship Id="rId34" Type="http://schemas.openxmlformats.org/officeDocument/2006/relationships/slideLayout" Target="../slideLayouts/slideLayout400.xml"/><Relationship Id="rId7" Type="http://schemas.openxmlformats.org/officeDocument/2006/relationships/slideLayout" Target="../slideLayouts/slideLayout373.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slideLayout" Target="../slideLayouts/slideLayout391.xml"/><Relationship Id="rId33" Type="http://schemas.openxmlformats.org/officeDocument/2006/relationships/slideLayout" Target="../slideLayouts/slideLayout399.xml"/><Relationship Id="rId38" Type="http://schemas.openxmlformats.org/officeDocument/2006/relationships/theme" Target="../theme/theme10.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0" Type="http://schemas.openxmlformats.org/officeDocument/2006/relationships/slideLayout" Target="../slideLayouts/slideLayout386.xml"/><Relationship Id="rId29" Type="http://schemas.openxmlformats.org/officeDocument/2006/relationships/slideLayout" Target="../slideLayouts/slideLayout395.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11" Type="http://schemas.openxmlformats.org/officeDocument/2006/relationships/slideLayout" Target="../slideLayouts/slideLayout377.xml"/><Relationship Id="rId24" Type="http://schemas.openxmlformats.org/officeDocument/2006/relationships/slideLayout" Target="../slideLayouts/slideLayout390.xml"/><Relationship Id="rId32" Type="http://schemas.openxmlformats.org/officeDocument/2006/relationships/slideLayout" Target="../slideLayouts/slideLayout398.xml"/><Relationship Id="rId37" Type="http://schemas.openxmlformats.org/officeDocument/2006/relationships/slideLayout" Target="../slideLayouts/slideLayout403.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28" Type="http://schemas.openxmlformats.org/officeDocument/2006/relationships/slideLayout" Target="../slideLayouts/slideLayout394.xml"/><Relationship Id="rId36" Type="http://schemas.openxmlformats.org/officeDocument/2006/relationships/slideLayout" Target="../slideLayouts/slideLayout402.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31" Type="http://schemas.openxmlformats.org/officeDocument/2006/relationships/slideLayout" Target="../slideLayouts/slideLayout397.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 Id="rId27" Type="http://schemas.openxmlformats.org/officeDocument/2006/relationships/slideLayout" Target="../slideLayouts/slideLayout393.xml"/><Relationship Id="rId30" Type="http://schemas.openxmlformats.org/officeDocument/2006/relationships/slideLayout" Target="../slideLayouts/slideLayout396.xml"/><Relationship Id="rId35" Type="http://schemas.openxmlformats.org/officeDocument/2006/relationships/slideLayout" Target="../slideLayouts/slideLayout401.xml"/><Relationship Id="rId8" Type="http://schemas.openxmlformats.org/officeDocument/2006/relationships/slideLayout" Target="../slideLayouts/slideLayout374.xml"/><Relationship Id="rId3" Type="http://schemas.openxmlformats.org/officeDocument/2006/relationships/slideLayout" Target="../slideLayouts/slideLayout369.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16.xml"/><Relationship Id="rId18" Type="http://schemas.openxmlformats.org/officeDocument/2006/relationships/slideLayout" Target="../slideLayouts/slideLayout421.xml"/><Relationship Id="rId26" Type="http://schemas.openxmlformats.org/officeDocument/2006/relationships/slideLayout" Target="../slideLayouts/slideLayout429.xml"/><Relationship Id="rId39" Type="http://schemas.openxmlformats.org/officeDocument/2006/relationships/theme" Target="../theme/theme11.xml"/><Relationship Id="rId21" Type="http://schemas.openxmlformats.org/officeDocument/2006/relationships/slideLayout" Target="../slideLayouts/slideLayout424.xml"/><Relationship Id="rId34" Type="http://schemas.openxmlformats.org/officeDocument/2006/relationships/slideLayout" Target="../slideLayouts/slideLayout437.xml"/><Relationship Id="rId7" Type="http://schemas.openxmlformats.org/officeDocument/2006/relationships/slideLayout" Target="../slideLayouts/slideLayout410.xml"/><Relationship Id="rId12" Type="http://schemas.openxmlformats.org/officeDocument/2006/relationships/slideLayout" Target="../slideLayouts/slideLayout415.xml"/><Relationship Id="rId17" Type="http://schemas.openxmlformats.org/officeDocument/2006/relationships/slideLayout" Target="../slideLayouts/slideLayout420.xml"/><Relationship Id="rId25" Type="http://schemas.openxmlformats.org/officeDocument/2006/relationships/slideLayout" Target="../slideLayouts/slideLayout428.xml"/><Relationship Id="rId33" Type="http://schemas.openxmlformats.org/officeDocument/2006/relationships/slideLayout" Target="../slideLayouts/slideLayout436.xml"/><Relationship Id="rId38" Type="http://schemas.openxmlformats.org/officeDocument/2006/relationships/slideLayout" Target="../slideLayouts/slideLayout441.xml"/><Relationship Id="rId2" Type="http://schemas.openxmlformats.org/officeDocument/2006/relationships/slideLayout" Target="../slideLayouts/slideLayout405.xml"/><Relationship Id="rId16" Type="http://schemas.openxmlformats.org/officeDocument/2006/relationships/slideLayout" Target="../slideLayouts/slideLayout419.xml"/><Relationship Id="rId20" Type="http://schemas.openxmlformats.org/officeDocument/2006/relationships/slideLayout" Target="../slideLayouts/slideLayout423.xml"/><Relationship Id="rId29" Type="http://schemas.openxmlformats.org/officeDocument/2006/relationships/slideLayout" Target="../slideLayouts/slideLayout432.xml"/><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24" Type="http://schemas.openxmlformats.org/officeDocument/2006/relationships/slideLayout" Target="../slideLayouts/slideLayout427.xml"/><Relationship Id="rId32" Type="http://schemas.openxmlformats.org/officeDocument/2006/relationships/slideLayout" Target="../slideLayouts/slideLayout435.xml"/><Relationship Id="rId37" Type="http://schemas.openxmlformats.org/officeDocument/2006/relationships/slideLayout" Target="../slideLayouts/slideLayout440.xml"/><Relationship Id="rId40" Type="http://schemas.openxmlformats.org/officeDocument/2006/relationships/image" Target="../media/image1.emf"/><Relationship Id="rId5" Type="http://schemas.openxmlformats.org/officeDocument/2006/relationships/slideLayout" Target="../slideLayouts/slideLayout408.xml"/><Relationship Id="rId15" Type="http://schemas.openxmlformats.org/officeDocument/2006/relationships/slideLayout" Target="../slideLayouts/slideLayout418.xml"/><Relationship Id="rId23" Type="http://schemas.openxmlformats.org/officeDocument/2006/relationships/slideLayout" Target="../slideLayouts/slideLayout426.xml"/><Relationship Id="rId28" Type="http://schemas.openxmlformats.org/officeDocument/2006/relationships/slideLayout" Target="../slideLayouts/slideLayout431.xml"/><Relationship Id="rId36" Type="http://schemas.openxmlformats.org/officeDocument/2006/relationships/slideLayout" Target="../slideLayouts/slideLayout439.xml"/><Relationship Id="rId10" Type="http://schemas.openxmlformats.org/officeDocument/2006/relationships/slideLayout" Target="../slideLayouts/slideLayout413.xml"/><Relationship Id="rId19" Type="http://schemas.openxmlformats.org/officeDocument/2006/relationships/slideLayout" Target="../slideLayouts/slideLayout422.xml"/><Relationship Id="rId31" Type="http://schemas.openxmlformats.org/officeDocument/2006/relationships/slideLayout" Target="../slideLayouts/slideLayout434.xml"/><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slideLayout" Target="../slideLayouts/slideLayout417.xml"/><Relationship Id="rId22" Type="http://schemas.openxmlformats.org/officeDocument/2006/relationships/slideLayout" Target="../slideLayouts/slideLayout425.xml"/><Relationship Id="rId27" Type="http://schemas.openxmlformats.org/officeDocument/2006/relationships/slideLayout" Target="../slideLayouts/slideLayout430.xml"/><Relationship Id="rId30" Type="http://schemas.openxmlformats.org/officeDocument/2006/relationships/slideLayout" Target="../slideLayouts/slideLayout433.xml"/><Relationship Id="rId35" Type="http://schemas.openxmlformats.org/officeDocument/2006/relationships/slideLayout" Target="../slideLayouts/slideLayout438.xml"/><Relationship Id="rId8" Type="http://schemas.openxmlformats.org/officeDocument/2006/relationships/slideLayout" Target="../slideLayouts/slideLayout411.xml"/><Relationship Id="rId3" Type="http://schemas.openxmlformats.org/officeDocument/2006/relationships/slideLayout" Target="../slideLayouts/slideLayout40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454.xml"/><Relationship Id="rId18" Type="http://schemas.openxmlformats.org/officeDocument/2006/relationships/slideLayout" Target="../slideLayouts/slideLayout459.xml"/><Relationship Id="rId26" Type="http://schemas.openxmlformats.org/officeDocument/2006/relationships/slideLayout" Target="../slideLayouts/slideLayout467.xml"/><Relationship Id="rId21" Type="http://schemas.openxmlformats.org/officeDocument/2006/relationships/slideLayout" Target="../slideLayouts/slideLayout462.xml"/><Relationship Id="rId34" Type="http://schemas.openxmlformats.org/officeDocument/2006/relationships/slideLayout" Target="../slideLayouts/slideLayout475.xml"/><Relationship Id="rId7" Type="http://schemas.openxmlformats.org/officeDocument/2006/relationships/slideLayout" Target="../slideLayouts/slideLayout448.xml"/><Relationship Id="rId12" Type="http://schemas.openxmlformats.org/officeDocument/2006/relationships/slideLayout" Target="../slideLayouts/slideLayout453.xml"/><Relationship Id="rId17" Type="http://schemas.openxmlformats.org/officeDocument/2006/relationships/slideLayout" Target="../slideLayouts/slideLayout458.xml"/><Relationship Id="rId25" Type="http://schemas.openxmlformats.org/officeDocument/2006/relationships/slideLayout" Target="../slideLayouts/slideLayout466.xml"/><Relationship Id="rId33" Type="http://schemas.openxmlformats.org/officeDocument/2006/relationships/slideLayout" Target="../slideLayouts/slideLayout474.xml"/><Relationship Id="rId38" Type="http://schemas.openxmlformats.org/officeDocument/2006/relationships/image" Target="../media/image1.emf"/><Relationship Id="rId2" Type="http://schemas.openxmlformats.org/officeDocument/2006/relationships/slideLayout" Target="../slideLayouts/slideLayout443.xml"/><Relationship Id="rId16" Type="http://schemas.openxmlformats.org/officeDocument/2006/relationships/slideLayout" Target="../slideLayouts/slideLayout457.xml"/><Relationship Id="rId20" Type="http://schemas.openxmlformats.org/officeDocument/2006/relationships/slideLayout" Target="../slideLayouts/slideLayout461.xml"/><Relationship Id="rId29" Type="http://schemas.openxmlformats.org/officeDocument/2006/relationships/slideLayout" Target="../slideLayouts/slideLayout470.xml"/><Relationship Id="rId1" Type="http://schemas.openxmlformats.org/officeDocument/2006/relationships/slideLayout" Target="../slideLayouts/slideLayout442.xml"/><Relationship Id="rId6" Type="http://schemas.openxmlformats.org/officeDocument/2006/relationships/slideLayout" Target="../slideLayouts/slideLayout447.xml"/><Relationship Id="rId11" Type="http://schemas.openxmlformats.org/officeDocument/2006/relationships/slideLayout" Target="../slideLayouts/slideLayout452.xml"/><Relationship Id="rId24" Type="http://schemas.openxmlformats.org/officeDocument/2006/relationships/slideLayout" Target="../slideLayouts/slideLayout465.xml"/><Relationship Id="rId32" Type="http://schemas.openxmlformats.org/officeDocument/2006/relationships/slideLayout" Target="../slideLayouts/slideLayout473.xml"/><Relationship Id="rId37" Type="http://schemas.openxmlformats.org/officeDocument/2006/relationships/theme" Target="../theme/theme12.xml"/><Relationship Id="rId5" Type="http://schemas.openxmlformats.org/officeDocument/2006/relationships/slideLayout" Target="../slideLayouts/slideLayout446.xml"/><Relationship Id="rId15" Type="http://schemas.openxmlformats.org/officeDocument/2006/relationships/slideLayout" Target="../slideLayouts/slideLayout456.xml"/><Relationship Id="rId23" Type="http://schemas.openxmlformats.org/officeDocument/2006/relationships/slideLayout" Target="../slideLayouts/slideLayout464.xml"/><Relationship Id="rId28" Type="http://schemas.openxmlformats.org/officeDocument/2006/relationships/slideLayout" Target="../slideLayouts/slideLayout469.xml"/><Relationship Id="rId36" Type="http://schemas.openxmlformats.org/officeDocument/2006/relationships/slideLayout" Target="../slideLayouts/slideLayout477.xml"/><Relationship Id="rId10" Type="http://schemas.openxmlformats.org/officeDocument/2006/relationships/slideLayout" Target="../slideLayouts/slideLayout451.xml"/><Relationship Id="rId19" Type="http://schemas.openxmlformats.org/officeDocument/2006/relationships/slideLayout" Target="../slideLayouts/slideLayout460.xml"/><Relationship Id="rId31" Type="http://schemas.openxmlformats.org/officeDocument/2006/relationships/slideLayout" Target="../slideLayouts/slideLayout472.xml"/><Relationship Id="rId4" Type="http://schemas.openxmlformats.org/officeDocument/2006/relationships/slideLayout" Target="../slideLayouts/slideLayout445.xml"/><Relationship Id="rId9" Type="http://schemas.openxmlformats.org/officeDocument/2006/relationships/slideLayout" Target="../slideLayouts/slideLayout450.xml"/><Relationship Id="rId14" Type="http://schemas.openxmlformats.org/officeDocument/2006/relationships/slideLayout" Target="../slideLayouts/slideLayout455.xml"/><Relationship Id="rId22" Type="http://schemas.openxmlformats.org/officeDocument/2006/relationships/slideLayout" Target="../slideLayouts/slideLayout463.xml"/><Relationship Id="rId27" Type="http://schemas.openxmlformats.org/officeDocument/2006/relationships/slideLayout" Target="../slideLayouts/slideLayout468.xml"/><Relationship Id="rId30" Type="http://schemas.openxmlformats.org/officeDocument/2006/relationships/slideLayout" Target="../slideLayouts/slideLayout471.xml"/><Relationship Id="rId35" Type="http://schemas.openxmlformats.org/officeDocument/2006/relationships/slideLayout" Target="../slideLayouts/slideLayout476.xml"/><Relationship Id="rId8" Type="http://schemas.openxmlformats.org/officeDocument/2006/relationships/slideLayout" Target="../slideLayouts/slideLayout449.xml"/><Relationship Id="rId3" Type="http://schemas.openxmlformats.org/officeDocument/2006/relationships/slideLayout" Target="../slideLayouts/slideLayout44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theme" Target="../theme/theme2.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8" Type="http://schemas.openxmlformats.org/officeDocument/2006/relationships/slideLayout" Target="../slideLayouts/slideLayout44.xml"/><Relationship Id="rId3"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theme" Target="../theme/theme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image" Target="../media/image22.emf"/><Relationship Id="rId8"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theme" Target="../theme/theme4.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image" Target="../media/image22.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41" Type="http://schemas.openxmlformats.org/officeDocument/2006/relationships/slideLayout" Target="../slideLayouts/slideLayout16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4" Type="http://schemas.openxmlformats.org/officeDocument/2006/relationships/image" Target="../media/image1.emf"/><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theme" Target="../theme/theme5.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9" Type="http://schemas.openxmlformats.org/officeDocument/2006/relationships/slideLayout" Target="../slideLayouts/slideLayout206.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42" Type="http://schemas.openxmlformats.org/officeDocument/2006/relationships/slideLayout" Target="../slideLayouts/slideLayout209.xml"/><Relationship Id="rId47" Type="http://schemas.openxmlformats.org/officeDocument/2006/relationships/slideLayout" Target="../slideLayouts/slideLayout214.xml"/><Relationship Id="rId50" Type="http://schemas.openxmlformats.org/officeDocument/2006/relationships/image" Target="../media/image52.emf"/><Relationship Id="rId7" Type="http://schemas.openxmlformats.org/officeDocument/2006/relationships/slideLayout" Target="../slideLayouts/slideLayout17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9" Type="http://schemas.openxmlformats.org/officeDocument/2006/relationships/slideLayout" Target="../slideLayouts/slideLayout196.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slideLayout" Target="../slideLayouts/slideLayout207.xml"/><Relationship Id="rId45" Type="http://schemas.openxmlformats.org/officeDocument/2006/relationships/slideLayout" Target="../slideLayouts/slideLayout212.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49" Type="http://schemas.openxmlformats.org/officeDocument/2006/relationships/theme" Target="../theme/theme6.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31" Type="http://schemas.openxmlformats.org/officeDocument/2006/relationships/slideLayout" Target="../slideLayouts/slideLayout198.xml"/><Relationship Id="rId44" Type="http://schemas.openxmlformats.org/officeDocument/2006/relationships/slideLayout" Target="../slideLayouts/slideLayout211.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43" Type="http://schemas.openxmlformats.org/officeDocument/2006/relationships/slideLayout" Target="../slideLayouts/slideLayout210.xml"/><Relationship Id="rId48" Type="http://schemas.openxmlformats.org/officeDocument/2006/relationships/slideLayout" Target="../slideLayouts/slideLayout215.xml"/><Relationship Id="rId8" Type="http://schemas.openxmlformats.org/officeDocument/2006/relationships/slideLayout" Target="../slideLayouts/slideLayout175.xml"/><Relationship Id="rId3" Type="http://schemas.openxmlformats.org/officeDocument/2006/relationships/slideLayout" Target="../slideLayouts/slideLayout170.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46" Type="http://schemas.openxmlformats.org/officeDocument/2006/relationships/slideLayout" Target="../slideLayouts/slideLayout213.xml"/><Relationship Id="rId20" Type="http://schemas.openxmlformats.org/officeDocument/2006/relationships/slideLayout" Target="../slideLayouts/slideLayout187.xml"/><Relationship Id="rId41" Type="http://schemas.openxmlformats.org/officeDocument/2006/relationships/slideLayout" Target="../slideLayouts/slideLayout208.xml"/><Relationship Id="rId1" Type="http://schemas.openxmlformats.org/officeDocument/2006/relationships/slideLayout" Target="../slideLayouts/slideLayout168.xml"/><Relationship Id="rId6" Type="http://schemas.openxmlformats.org/officeDocument/2006/relationships/slideLayout" Target="../slideLayouts/slideLayout173.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7.xml"/><Relationship Id="rId1" Type="http://schemas.openxmlformats.org/officeDocument/2006/relationships/slideLayout" Target="../slideLayouts/slideLayout216.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42.xml"/><Relationship Id="rId21" Type="http://schemas.openxmlformats.org/officeDocument/2006/relationships/slideLayout" Target="../slideLayouts/slideLayout237.xml"/><Relationship Id="rId42" Type="http://schemas.openxmlformats.org/officeDocument/2006/relationships/slideLayout" Target="../slideLayouts/slideLayout258.xml"/><Relationship Id="rId47" Type="http://schemas.openxmlformats.org/officeDocument/2006/relationships/slideLayout" Target="../slideLayouts/slideLayout263.xml"/><Relationship Id="rId63" Type="http://schemas.openxmlformats.org/officeDocument/2006/relationships/slideLayout" Target="../slideLayouts/slideLayout279.xml"/><Relationship Id="rId68" Type="http://schemas.openxmlformats.org/officeDocument/2006/relationships/slideLayout" Target="../slideLayouts/slideLayout284.xml"/><Relationship Id="rId84" Type="http://schemas.openxmlformats.org/officeDocument/2006/relationships/slideLayout" Target="../slideLayouts/slideLayout300.xml"/><Relationship Id="rId89" Type="http://schemas.openxmlformats.org/officeDocument/2006/relationships/slideLayout" Target="../slideLayouts/slideLayout305.xml"/><Relationship Id="rId112" Type="http://schemas.openxmlformats.org/officeDocument/2006/relationships/slideLayout" Target="../slideLayouts/slideLayout328.xml"/><Relationship Id="rId16" Type="http://schemas.openxmlformats.org/officeDocument/2006/relationships/slideLayout" Target="../slideLayouts/slideLayout232.xml"/><Relationship Id="rId107" Type="http://schemas.openxmlformats.org/officeDocument/2006/relationships/slideLayout" Target="../slideLayouts/slideLayout323.xml"/><Relationship Id="rId11" Type="http://schemas.openxmlformats.org/officeDocument/2006/relationships/slideLayout" Target="../slideLayouts/slideLayout227.xml"/><Relationship Id="rId32" Type="http://schemas.openxmlformats.org/officeDocument/2006/relationships/slideLayout" Target="../slideLayouts/slideLayout248.xml"/><Relationship Id="rId37" Type="http://schemas.openxmlformats.org/officeDocument/2006/relationships/slideLayout" Target="../slideLayouts/slideLayout253.xml"/><Relationship Id="rId53" Type="http://schemas.openxmlformats.org/officeDocument/2006/relationships/slideLayout" Target="../slideLayouts/slideLayout269.xml"/><Relationship Id="rId58" Type="http://schemas.openxmlformats.org/officeDocument/2006/relationships/slideLayout" Target="../slideLayouts/slideLayout274.xml"/><Relationship Id="rId74" Type="http://schemas.openxmlformats.org/officeDocument/2006/relationships/slideLayout" Target="../slideLayouts/slideLayout290.xml"/><Relationship Id="rId79" Type="http://schemas.openxmlformats.org/officeDocument/2006/relationships/slideLayout" Target="../slideLayouts/slideLayout295.xml"/><Relationship Id="rId102" Type="http://schemas.openxmlformats.org/officeDocument/2006/relationships/slideLayout" Target="../slideLayouts/slideLayout318.xml"/><Relationship Id="rId5" Type="http://schemas.openxmlformats.org/officeDocument/2006/relationships/slideLayout" Target="../slideLayouts/slideLayout221.xml"/><Relationship Id="rId90" Type="http://schemas.openxmlformats.org/officeDocument/2006/relationships/slideLayout" Target="../slideLayouts/slideLayout306.xml"/><Relationship Id="rId95" Type="http://schemas.openxmlformats.org/officeDocument/2006/relationships/slideLayout" Target="../slideLayouts/slideLayout311.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43" Type="http://schemas.openxmlformats.org/officeDocument/2006/relationships/slideLayout" Target="../slideLayouts/slideLayout259.xml"/><Relationship Id="rId48" Type="http://schemas.openxmlformats.org/officeDocument/2006/relationships/slideLayout" Target="../slideLayouts/slideLayout264.xml"/><Relationship Id="rId64" Type="http://schemas.openxmlformats.org/officeDocument/2006/relationships/slideLayout" Target="../slideLayouts/slideLayout280.xml"/><Relationship Id="rId69" Type="http://schemas.openxmlformats.org/officeDocument/2006/relationships/slideLayout" Target="../slideLayouts/slideLayout285.xml"/><Relationship Id="rId113" Type="http://schemas.openxmlformats.org/officeDocument/2006/relationships/slideLayout" Target="../slideLayouts/slideLayout329.xml"/><Relationship Id="rId80" Type="http://schemas.openxmlformats.org/officeDocument/2006/relationships/slideLayout" Target="../slideLayouts/slideLayout296.xml"/><Relationship Id="rId85" Type="http://schemas.openxmlformats.org/officeDocument/2006/relationships/slideLayout" Target="../slideLayouts/slideLayout301.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33" Type="http://schemas.openxmlformats.org/officeDocument/2006/relationships/slideLayout" Target="../slideLayouts/slideLayout249.xml"/><Relationship Id="rId38" Type="http://schemas.openxmlformats.org/officeDocument/2006/relationships/slideLayout" Target="../slideLayouts/slideLayout254.xml"/><Relationship Id="rId59" Type="http://schemas.openxmlformats.org/officeDocument/2006/relationships/slideLayout" Target="../slideLayouts/slideLayout275.xml"/><Relationship Id="rId103" Type="http://schemas.openxmlformats.org/officeDocument/2006/relationships/slideLayout" Target="../slideLayouts/slideLayout319.xml"/><Relationship Id="rId108" Type="http://schemas.openxmlformats.org/officeDocument/2006/relationships/slideLayout" Target="../slideLayouts/slideLayout324.xml"/><Relationship Id="rId54" Type="http://schemas.openxmlformats.org/officeDocument/2006/relationships/slideLayout" Target="../slideLayouts/slideLayout270.xml"/><Relationship Id="rId70" Type="http://schemas.openxmlformats.org/officeDocument/2006/relationships/slideLayout" Target="../slideLayouts/slideLayout286.xml"/><Relationship Id="rId75" Type="http://schemas.openxmlformats.org/officeDocument/2006/relationships/slideLayout" Target="../slideLayouts/slideLayout291.xml"/><Relationship Id="rId91" Type="http://schemas.openxmlformats.org/officeDocument/2006/relationships/slideLayout" Target="../slideLayouts/slideLayout307.xml"/><Relationship Id="rId96" Type="http://schemas.openxmlformats.org/officeDocument/2006/relationships/slideLayout" Target="../slideLayouts/slideLayout312.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slideLayout" Target="../slideLayouts/slideLayout252.xml"/><Relationship Id="rId49" Type="http://schemas.openxmlformats.org/officeDocument/2006/relationships/slideLayout" Target="../slideLayouts/slideLayout265.xml"/><Relationship Id="rId57" Type="http://schemas.openxmlformats.org/officeDocument/2006/relationships/slideLayout" Target="../slideLayouts/slideLayout273.xml"/><Relationship Id="rId106" Type="http://schemas.openxmlformats.org/officeDocument/2006/relationships/slideLayout" Target="../slideLayouts/slideLayout322.xml"/><Relationship Id="rId114" Type="http://schemas.openxmlformats.org/officeDocument/2006/relationships/theme" Target="../theme/theme8.xml"/><Relationship Id="rId10" Type="http://schemas.openxmlformats.org/officeDocument/2006/relationships/slideLayout" Target="../slideLayouts/slideLayout226.xml"/><Relationship Id="rId31" Type="http://schemas.openxmlformats.org/officeDocument/2006/relationships/slideLayout" Target="../slideLayouts/slideLayout247.xml"/><Relationship Id="rId44" Type="http://schemas.openxmlformats.org/officeDocument/2006/relationships/slideLayout" Target="../slideLayouts/slideLayout260.xml"/><Relationship Id="rId52" Type="http://schemas.openxmlformats.org/officeDocument/2006/relationships/slideLayout" Target="../slideLayouts/slideLayout268.xml"/><Relationship Id="rId60" Type="http://schemas.openxmlformats.org/officeDocument/2006/relationships/slideLayout" Target="../slideLayouts/slideLayout276.xml"/><Relationship Id="rId65" Type="http://schemas.openxmlformats.org/officeDocument/2006/relationships/slideLayout" Target="../slideLayouts/slideLayout281.xml"/><Relationship Id="rId73" Type="http://schemas.openxmlformats.org/officeDocument/2006/relationships/slideLayout" Target="../slideLayouts/slideLayout289.xml"/><Relationship Id="rId78" Type="http://schemas.openxmlformats.org/officeDocument/2006/relationships/slideLayout" Target="../slideLayouts/slideLayout294.xml"/><Relationship Id="rId81" Type="http://schemas.openxmlformats.org/officeDocument/2006/relationships/slideLayout" Target="../slideLayouts/slideLayout297.xml"/><Relationship Id="rId86" Type="http://schemas.openxmlformats.org/officeDocument/2006/relationships/slideLayout" Target="../slideLayouts/slideLayout302.xml"/><Relationship Id="rId94" Type="http://schemas.openxmlformats.org/officeDocument/2006/relationships/slideLayout" Target="../slideLayouts/slideLayout310.xml"/><Relationship Id="rId99" Type="http://schemas.openxmlformats.org/officeDocument/2006/relationships/slideLayout" Target="../slideLayouts/slideLayout315.xml"/><Relationship Id="rId101" Type="http://schemas.openxmlformats.org/officeDocument/2006/relationships/slideLayout" Target="../slideLayouts/slideLayout31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39" Type="http://schemas.openxmlformats.org/officeDocument/2006/relationships/slideLayout" Target="../slideLayouts/slideLayout255.xml"/><Relationship Id="rId109" Type="http://schemas.openxmlformats.org/officeDocument/2006/relationships/slideLayout" Target="../slideLayouts/slideLayout325.xml"/><Relationship Id="rId34" Type="http://schemas.openxmlformats.org/officeDocument/2006/relationships/slideLayout" Target="../slideLayouts/slideLayout250.xml"/><Relationship Id="rId50" Type="http://schemas.openxmlformats.org/officeDocument/2006/relationships/slideLayout" Target="../slideLayouts/slideLayout266.xml"/><Relationship Id="rId55" Type="http://schemas.openxmlformats.org/officeDocument/2006/relationships/slideLayout" Target="../slideLayouts/slideLayout271.xml"/><Relationship Id="rId76" Type="http://schemas.openxmlformats.org/officeDocument/2006/relationships/slideLayout" Target="../slideLayouts/slideLayout292.xml"/><Relationship Id="rId97" Type="http://schemas.openxmlformats.org/officeDocument/2006/relationships/slideLayout" Target="../slideLayouts/slideLayout313.xml"/><Relationship Id="rId104" Type="http://schemas.openxmlformats.org/officeDocument/2006/relationships/slideLayout" Target="../slideLayouts/slideLayout320.xml"/><Relationship Id="rId7" Type="http://schemas.openxmlformats.org/officeDocument/2006/relationships/slideLayout" Target="../slideLayouts/slideLayout223.xml"/><Relationship Id="rId71" Type="http://schemas.openxmlformats.org/officeDocument/2006/relationships/slideLayout" Target="../slideLayouts/slideLayout287.xml"/><Relationship Id="rId92" Type="http://schemas.openxmlformats.org/officeDocument/2006/relationships/slideLayout" Target="../slideLayouts/slideLayout308.xml"/><Relationship Id="rId2" Type="http://schemas.openxmlformats.org/officeDocument/2006/relationships/slideLayout" Target="../slideLayouts/slideLayout218.xml"/><Relationship Id="rId29" Type="http://schemas.openxmlformats.org/officeDocument/2006/relationships/slideLayout" Target="../slideLayouts/slideLayout245.xml"/><Relationship Id="rId24" Type="http://schemas.openxmlformats.org/officeDocument/2006/relationships/slideLayout" Target="../slideLayouts/slideLayout240.xml"/><Relationship Id="rId40" Type="http://schemas.openxmlformats.org/officeDocument/2006/relationships/slideLayout" Target="../slideLayouts/slideLayout256.xml"/><Relationship Id="rId45" Type="http://schemas.openxmlformats.org/officeDocument/2006/relationships/slideLayout" Target="../slideLayouts/slideLayout261.xml"/><Relationship Id="rId66" Type="http://schemas.openxmlformats.org/officeDocument/2006/relationships/slideLayout" Target="../slideLayouts/slideLayout282.xml"/><Relationship Id="rId87" Type="http://schemas.openxmlformats.org/officeDocument/2006/relationships/slideLayout" Target="../slideLayouts/slideLayout303.xml"/><Relationship Id="rId110" Type="http://schemas.openxmlformats.org/officeDocument/2006/relationships/slideLayout" Target="../slideLayouts/slideLayout326.xml"/><Relationship Id="rId115" Type="http://schemas.openxmlformats.org/officeDocument/2006/relationships/image" Target="../media/image1.emf"/><Relationship Id="rId61" Type="http://schemas.openxmlformats.org/officeDocument/2006/relationships/slideLayout" Target="../slideLayouts/slideLayout277.xml"/><Relationship Id="rId82" Type="http://schemas.openxmlformats.org/officeDocument/2006/relationships/slideLayout" Target="../slideLayouts/slideLayout298.xml"/><Relationship Id="rId19" Type="http://schemas.openxmlformats.org/officeDocument/2006/relationships/slideLayout" Target="../slideLayouts/slideLayout235.xml"/><Relationship Id="rId14" Type="http://schemas.openxmlformats.org/officeDocument/2006/relationships/slideLayout" Target="../slideLayouts/slideLayout230.xml"/><Relationship Id="rId30" Type="http://schemas.openxmlformats.org/officeDocument/2006/relationships/slideLayout" Target="../slideLayouts/slideLayout246.xml"/><Relationship Id="rId35" Type="http://schemas.openxmlformats.org/officeDocument/2006/relationships/slideLayout" Target="../slideLayouts/slideLayout251.xml"/><Relationship Id="rId56" Type="http://schemas.openxmlformats.org/officeDocument/2006/relationships/slideLayout" Target="../slideLayouts/slideLayout272.xml"/><Relationship Id="rId77" Type="http://schemas.openxmlformats.org/officeDocument/2006/relationships/slideLayout" Target="../slideLayouts/slideLayout293.xml"/><Relationship Id="rId100" Type="http://schemas.openxmlformats.org/officeDocument/2006/relationships/slideLayout" Target="../slideLayouts/slideLayout316.xml"/><Relationship Id="rId105" Type="http://schemas.openxmlformats.org/officeDocument/2006/relationships/slideLayout" Target="../slideLayouts/slideLayout321.xml"/><Relationship Id="rId8" Type="http://schemas.openxmlformats.org/officeDocument/2006/relationships/slideLayout" Target="../slideLayouts/slideLayout224.xml"/><Relationship Id="rId51" Type="http://schemas.openxmlformats.org/officeDocument/2006/relationships/slideLayout" Target="../slideLayouts/slideLayout267.xml"/><Relationship Id="rId72" Type="http://schemas.openxmlformats.org/officeDocument/2006/relationships/slideLayout" Target="../slideLayouts/slideLayout288.xml"/><Relationship Id="rId93" Type="http://schemas.openxmlformats.org/officeDocument/2006/relationships/slideLayout" Target="../slideLayouts/slideLayout309.xml"/><Relationship Id="rId98" Type="http://schemas.openxmlformats.org/officeDocument/2006/relationships/slideLayout" Target="../slideLayouts/slideLayout314.xml"/><Relationship Id="rId3" Type="http://schemas.openxmlformats.org/officeDocument/2006/relationships/slideLayout" Target="../slideLayouts/slideLayout219.xml"/><Relationship Id="rId25" Type="http://schemas.openxmlformats.org/officeDocument/2006/relationships/slideLayout" Target="../slideLayouts/slideLayout241.xml"/><Relationship Id="rId46" Type="http://schemas.openxmlformats.org/officeDocument/2006/relationships/slideLayout" Target="../slideLayouts/slideLayout262.xml"/><Relationship Id="rId67" Type="http://schemas.openxmlformats.org/officeDocument/2006/relationships/slideLayout" Target="../slideLayouts/slideLayout283.xml"/><Relationship Id="rId20" Type="http://schemas.openxmlformats.org/officeDocument/2006/relationships/slideLayout" Target="../slideLayouts/slideLayout236.xml"/><Relationship Id="rId41" Type="http://schemas.openxmlformats.org/officeDocument/2006/relationships/slideLayout" Target="../slideLayouts/slideLayout257.xml"/><Relationship Id="rId62" Type="http://schemas.openxmlformats.org/officeDocument/2006/relationships/slideLayout" Target="../slideLayouts/slideLayout278.xml"/><Relationship Id="rId83" Type="http://schemas.openxmlformats.org/officeDocument/2006/relationships/slideLayout" Target="../slideLayouts/slideLayout299.xml"/><Relationship Id="rId88" Type="http://schemas.openxmlformats.org/officeDocument/2006/relationships/slideLayout" Target="../slideLayouts/slideLayout304.xml"/><Relationship Id="rId111" Type="http://schemas.openxmlformats.org/officeDocument/2006/relationships/slideLayout" Target="../slideLayouts/slideLayout32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9" Type="http://schemas.openxmlformats.org/officeDocument/2006/relationships/image" Target="../media/image1.emf"/><Relationship Id="rId21" Type="http://schemas.openxmlformats.org/officeDocument/2006/relationships/slideLayout" Target="../slideLayouts/slideLayout350.xml"/><Relationship Id="rId34" Type="http://schemas.openxmlformats.org/officeDocument/2006/relationships/slideLayout" Target="../slideLayouts/slideLayout363.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38" Type="http://schemas.openxmlformats.org/officeDocument/2006/relationships/theme" Target="../theme/theme9.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37" Type="http://schemas.openxmlformats.org/officeDocument/2006/relationships/slideLayout" Target="../slideLayouts/slideLayout366.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36" Type="http://schemas.openxmlformats.org/officeDocument/2006/relationships/slideLayout" Target="../slideLayouts/slideLayout365.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 Id="rId35" Type="http://schemas.openxmlformats.org/officeDocument/2006/relationships/slideLayout" Target="../slideLayouts/slideLayout364.xml"/><Relationship Id="rId8" Type="http://schemas.openxmlformats.org/officeDocument/2006/relationships/slideLayout" Target="../slideLayouts/slideLayout337.xml"/><Relationship Id="rId3" Type="http://schemas.openxmlformats.org/officeDocument/2006/relationships/slideLayout" Target="../slideLayouts/slideLayout3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852015802"/>
      </p:ext>
    </p:extLst>
  </p:cSld>
  <p:clrMap bg1="dk1" tx1="lt1" bg2="dk2" tx2="lt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985" r:id="rId6"/>
    <p:sldLayoutId id="2147484883" r:id="rId7"/>
    <p:sldLayoutId id="2147484912" r:id="rId8"/>
    <p:sldLayoutId id="2147484913" r:id="rId9"/>
    <p:sldLayoutId id="2147484886" r:id="rId10"/>
    <p:sldLayoutId id="2147484987" r:id="rId11"/>
    <p:sldLayoutId id="2147484986" r:id="rId12"/>
    <p:sldLayoutId id="2147484887" r:id="rId13"/>
    <p:sldLayoutId id="2147484888" r:id="rId14"/>
    <p:sldLayoutId id="2147484889" r:id="rId15"/>
    <p:sldLayoutId id="2147484890" r:id="rId16"/>
    <p:sldLayoutId id="2147484928" r:id="rId17"/>
    <p:sldLayoutId id="2147484929" r:id="rId18"/>
    <p:sldLayoutId id="2147484930" r:id="rId19"/>
    <p:sldLayoutId id="2147484894" r:id="rId20"/>
    <p:sldLayoutId id="2147484895" r:id="rId21"/>
    <p:sldLayoutId id="2147484896" r:id="rId22"/>
    <p:sldLayoutId id="2147484897" r:id="rId23"/>
    <p:sldLayoutId id="2147484898" r:id="rId24"/>
    <p:sldLayoutId id="2147484933" r:id="rId25"/>
    <p:sldLayoutId id="2147484900" r:id="rId26"/>
    <p:sldLayoutId id="2147484901" r:id="rId27"/>
    <p:sldLayoutId id="2147484902" r:id="rId28"/>
    <p:sldLayoutId id="2147484903" r:id="rId29"/>
    <p:sldLayoutId id="2147484904" r:id="rId30"/>
    <p:sldLayoutId id="2147484905" r:id="rId31"/>
    <p:sldLayoutId id="2147484906" r:id="rId32"/>
    <p:sldLayoutId id="2147484948" r:id="rId33"/>
    <p:sldLayoutId id="2147484907" r:id="rId34"/>
    <p:sldLayoutId id="2147484908" r:id="rId35"/>
    <p:sldLayoutId id="2147484909"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9">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Title Placeholder 1">
            <a:extLst>
              <a:ext uri="{FF2B5EF4-FFF2-40B4-BE49-F238E27FC236}">
                <a16:creationId xmlns:a16="http://schemas.microsoft.com/office/drawing/2014/main" id="{E1BD7F87-C8F1-43C3-87CE-399FBE161AC6}"/>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F2F489F3-4138-4F66-9CE9-358ABB95D9A0}"/>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1D06C811-AF03-4A63-B36E-91DDFBF52E1F}"/>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A8FEA08D-000D-46B7-B7A6-34CD8E414C5B}"/>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AA45851-6B45-4A58-8BE6-598691F9BDF4}"/>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91FB2C0-0963-4DB2-891D-D34E74A20280}"/>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7E5A9C5-6009-4ED0-829E-17A94D135953}"/>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F0C9F0C-DBFA-4165-9CB2-6D921A755DC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4D6CE15-1E72-4915-8F5B-3A9C8E37497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3591AE8-E390-4055-9F7E-7D62EBCDF167}"/>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20724E2-D108-4207-BB7A-B019AE7ACA7C}"/>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4AD7370-5ED8-4495-AAC2-62398B32413D}"/>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9097A98-D361-424C-99EB-D0FDF4433DF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2A4B36C-6BDA-4BC0-9A3D-7C471409769C}"/>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C944833-AA39-437A-98C2-E2ABCDB1016C}"/>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A77BF69-9BCC-4DD5-AE52-3F6186E1C153}"/>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9619223-B730-49FD-AE08-B43C5F94760C}"/>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14080A7-AC42-40A8-BCE9-F13E9F05AB8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7C74228-1399-4371-A066-E93F4336228E}"/>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3FEFB87-894F-412E-9EA1-0B3EB0756D1A}"/>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C26E634-FFF3-4667-8A86-7201E8501F23}"/>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74A8572-FA98-4FD1-9450-2163816EBD9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909B89C-B110-41D2-9AFC-0C3193A25934}"/>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8495CD8-20A3-4C6F-8689-B51B64933859}"/>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3A964AC-A47B-4E45-BA0B-DBED9CBEE40E}"/>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1A1BFB6-49D7-4E7A-8834-75AD9F329C79}"/>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75861F2-E7F0-4944-B310-D4C2CAD775A6}"/>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70B54D8-1122-4939-AC08-ECDD9328600E}"/>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4C685B2-28D4-47E1-8ACC-F772D4FB515A}"/>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80CC31A-38FA-4846-9A9A-FC99EA393705}"/>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5F1FC32-EEF0-497A-BC27-EAAF83A2F544}"/>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4763C238-56AB-4D4E-B985-340DC8AA9A12}"/>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BEEFAD1-692B-473C-AC94-644748519758}"/>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A7F7E01E-6863-4A20-8B12-089EFCBBCAD9}"/>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8978B2-F802-402F-95E4-7C77B4ABEE07}"/>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977CE822-2F9D-4925-ABA0-ECD268CE6E0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4C780E9-F589-438E-9762-3D02A02D6203}"/>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4CE57FF8-D3EA-43FA-8FD3-405E0FF9CF1A}"/>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F6CF7B57-FAAD-4589-BD1A-CA2FCBDDF498}"/>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775DDDD1-EC27-4056-B475-4048F3FF8DF5}"/>
              </a:ext>
              <a:ext uri="{C183D7F6-B498-43B3-948B-1728B52AA6E4}">
                <adec:decorative xmlns:adec="http://schemas.microsoft.com/office/drawing/2017/decorative" val="0"/>
              </a:ext>
            </a:extLst>
          </p:cNvPr>
          <p:cNvPicPr>
            <a:picLocks noChangeAspect="1"/>
          </p:cNvPicPr>
          <p:nvPr userDrawn="1"/>
        </p:nvPicPr>
        <p:blipFill rotWithShape="1">
          <a:blip r:embed="rId39">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236763465"/>
      </p:ext>
    </p:extLst>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 id="2147485564" r:id="rId7"/>
    <p:sldLayoutId id="2147485565" r:id="rId8"/>
    <p:sldLayoutId id="2147485566" r:id="rId9"/>
    <p:sldLayoutId id="2147485567" r:id="rId10"/>
    <p:sldLayoutId id="2147485568" r:id="rId11"/>
    <p:sldLayoutId id="2147485569" r:id="rId12"/>
    <p:sldLayoutId id="2147485570" r:id="rId13"/>
    <p:sldLayoutId id="2147485571" r:id="rId14"/>
    <p:sldLayoutId id="2147485572" r:id="rId15"/>
    <p:sldLayoutId id="2147485573" r:id="rId16"/>
    <p:sldLayoutId id="2147485574" r:id="rId17"/>
    <p:sldLayoutId id="2147485575" r:id="rId18"/>
    <p:sldLayoutId id="2147485576" r:id="rId19"/>
    <p:sldLayoutId id="2147485577" r:id="rId20"/>
    <p:sldLayoutId id="2147485578" r:id="rId21"/>
    <p:sldLayoutId id="2147485579" r:id="rId22"/>
    <p:sldLayoutId id="2147485580" r:id="rId23"/>
    <p:sldLayoutId id="2147485581" r:id="rId24"/>
    <p:sldLayoutId id="2147485582" r:id="rId25"/>
    <p:sldLayoutId id="2147485583" r:id="rId26"/>
    <p:sldLayoutId id="2147485584" r:id="rId27"/>
    <p:sldLayoutId id="2147485585" r:id="rId28"/>
    <p:sldLayoutId id="2147485586" r:id="rId29"/>
    <p:sldLayoutId id="2147485587" r:id="rId30"/>
    <p:sldLayoutId id="2147485588" r:id="rId31"/>
    <p:sldLayoutId id="2147485589" r:id="rId32"/>
    <p:sldLayoutId id="2147485590" r:id="rId33"/>
    <p:sldLayoutId id="2147485591" r:id="rId34"/>
    <p:sldLayoutId id="2147485592" r:id="rId35"/>
    <p:sldLayoutId id="2147485593" r:id="rId36"/>
    <p:sldLayoutId id="2147485594"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511124954"/>
      </p:ext>
    </p:extLst>
  </p:cSld>
  <p:clrMap bg1="lt1" tx1="dk1" bg2="lt2" tx2="dk2" accent1="accent1" accent2="accent2" accent3="accent3" accent4="accent4" accent5="accent5" accent6="accent6" hlink="hlink" folHlink="folHlink"/>
  <p:sldLayoutIdLst>
    <p:sldLayoutId id="2147485596" r:id="rId1"/>
    <p:sldLayoutId id="2147485597" r:id="rId2"/>
    <p:sldLayoutId id="2147485598" r:id="rId3"/>
    <p:sldLayoutId id="2147485599" r:id="rId4"/>
    <p:sldLayoutId id="2147485600" r:id="rId5"/>
    <p:sldLayoutId id="2147485601" r:id="rId6"/>
    <p:sldLayoutId id="2147485602" r:id="rId7"/>
    <p:sldLayoutId id="2147485603" r:id="rId8"/>
    <p:sldLayoutId id="2147485604" r:id="rId9"/>
    <p:sldLayoutId id="2147485605" r:id="rId10"/>
    <p:sldLayoutId id="2147485606" r:id="rId11"/>
    <p:sldLayoutId id="2147485607" r:id="rId12"/>
    <p:sldLayoutId id="2147485608" r:id="rId13"/>
    <p:sldLayoutId id="2147485609" r:id="rId14"/>
    <p:sldLayoutId id="2147485610" r:id="rId15"/>
    <p:sldLayoutId id="2147485611" r:id="rId16"/>
    <p:sldLayoutId id="2147485612" r:id="rId17"/>
    <p:sldLayoutId id="2147485613" r:id="rId18"/>
    <p:sldLayoutId id="2147485614" r:id="rId19"/>
    <p:sldLayoutId id="2147485615" r:id="rId20"/>
    <p:sldLayoutId id="2147485616" r:id="rId21"/>
    <p:sldLayoutId id="2147485617" r:id="rId22"/>
    <p:sldLayoutId id="2147485618" r:id="rId23"/>
    <p:sldLayoutId id="2147485619" r:id="rId24"/>
    <p:sldLayoutId id="2147485620" r:id="rId25"/>
    <p:sldLayoutId id="2147485621" r:id="rId26"/>
    <p:sldLayoutId id="2147485622" r:id="rId27"/>
    <p:sldLayoutId id="2147485623" r:id="rId28"/>
    <p:sldLayoutId id="2147485624" r:id="rId29"/>
    <p:sldLayoutId id="2147485625" r:id="rId30"/>
    <p:sldLayoutId id="2147485626" r:id="rId31"/>
    <p:sldLayoutId id="2147485627" r:id="rId32"/>
    <p:sldLayoutId id="2147485628" r:id="rId33"/>
    <p:sldLayoutId id="2147485629" r:id="rId34"/>
    <p:sldLayoutId id="2147485630" r:id="rId35"/>
    <p:sldLayoutId id="2147485631" r:id="rId36"/>
    <p:sldLayoutId id="2147485632" r:id="rId37"/>
    <p:sldLayoutId id="2147485633" r:id="rId38"/>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5" name="TextBox 4">
            <a:extLst>
              <a:ext uri="{FF2B5EF4-FFF2-40B4-BE49-F238E27FC236}">
                <a16:creationId xmlns:a16="http://schemas.microsoft.com/office/drawing/2014/main" id="{318F644D-4FE1-40B7-87DA-E1B51815F487}"/>
              </a:ext>
            </a:extLst>
          </p:cNvPr>
          <p:cNvSpPr txBox="1"/>
          <p:nvPr userDrawn="1"/>
        </p:nvSpPr>
        <p:spPr>
          <a:xfrm>
            <a:off x="214009" y="6462324"/>
            <a:ext cx="3472872" cy="246221"/>
          </a:xfrm>
          <a:prstGeom prst="rect">
            <a:avLst/>
          </a:prstGeom>
          <a:noFill/>
        </p:spPr>
        <p:txBody>
          <a:bodyPr wrap="square" lIns="0" tIns="0" rIns="0" bIns="0" rtlCol="0">
            <a:spAutoFit/>
          </a:bodyPr>
          <a:lstStyle/>
          <a:p>
            <a:pPr algn="l"/>
            <a:r>
              <a:rPr lang="en-US" sz="160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117984081"/>
      </p:ext>
    </p:extLst>
  </p:cSld>
  <p:clrMap bg1="dk1" tx1="lt1" bg2="dk2" tx2="lt2" accent1="accent1" accent2="accent2" accent3="accent3" accent4="accent4" accent5="accent5" accent6="accent6" hlink="hlink" folHlink="folHlink"/>
  <p:sldLayoutIdLst>
    <p:sldLayoutId id="2147485635" r:id="rId1"/>
    <p:sldLayoutId id="2147485636" r:id="rId2"/>
    <p:sldLayoutId id="2147485637" r:id="rId3"/>
    <p:sldLayoutId id="2147485638" r:id="rId4"/>
    <p:sldLayoutId id="2147485639" r:id="rId5"/>
    <p:sldLayoutId id="2147485640" r:id="rId6"/>
    <p:sldLayoutId id="2147485641" r:id="rId7"/>
    <p:sldLayoutId id="2147485642" r:id="rId8"/>
    <p:sldLayoutId id="2147485643" r:id="rId9"/>
    <p:sldLayoutId id="2147485644" r:id="rId10"/>
    <p:sldLayoutId id="2147485645" r:id="rId11"/>
    <p:sldLayoutId id="2147485646" r:id="rId12"/>
    <p:sldLayoutId id="2147485647" r:id="rId13"/>
    <p:sldLayoutId id="2147485648" r:id="rId14"/>
    <p:sldLayoutId id="2147485649" r:id="rId15"/>
    <p:sldLayoutId id="2147485650" r:id="rId16"/>
    <p:sldLayoutId id="2147485651" r:id="rId17"/>
    <p:sldLayoutId id="2147485652" r:id="rId18"/>
    <p:sldLayoutId id="2147485653" r:id="rId19"/>
    <p:sldLayoutId id="2147485654" r:id="rId20"/>
    <p:sldLayoutId id="2147485655" r:id="rId21"/>
    <p:sldLayoutId id="2147485656" r:id="rId22"/>
    <p:sldLayoutId id="2147485657" r:id="rId23"/>
    <p:sldLayoutId id="2147485658" r:id="rId24"/>
    <p:sldLayoutId id="2147485659" r:id="rId25"/>
    <p:sldLayoutId id="2147485660" r:id="rId26"/>
    <p:sldLayoutId id="2147485661" r:id="rId27"/>
    <p:sldLayoutId id="2147485662" r:id="rId28"/>
    <p:sldLayoutId id="2147485663" r:id="rId29"/>
    <p:sldLayoutId id="2147485664" r:id="rId30"/>
    <p:sldLayoutId id="2147485665" r:id="rId31"/>
    <p:sldLayoutId id="2147485666" r:id="rId32"/>
    <p:sldLayoutId id="2147485667" r:id="rId33"/>
    <p:sldLayoutId id="2147485668" r:id="rId34"/>
    <p:sldLayoutId id="2147485669" r:id="rId35"/>
    <p:sldLayoutId id="2147485670"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8">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983" r:id="rId3"/>
    <p:sldLayoutId id="2147484577" r:id="rId4"/>
    <p:sldLayoutId id="2147484610" r:id="rId5"/>
    <p:sldLayoutId id="2147484710" r:id="rId6"/>
    <p:sldLayoutId id="2147484240" r:id="rId7"/>
    <p:sldLayoutId id="2147484736" r:id="rId8"/>
    <p:sldLayoutId id="2147484474" r:id="rId9"/>
    <p:sldLayoutId id="2147484639" r:id="rId10"/>
    <p:sldLayoutId id="2147484792" r:id="rId11"/>
    <p:sldLayoutId id="2147484603" r:id="rId12"/>
    <p:sldLayoutId id="2147484751" r:id="rId13"/>
    <p:sldLayoutId id="2147484752" r:id="rId14"/>
    <p:sldLayoutId id="2147484777" r:id="rId15"/>
    <p:sldLayoutId id="2147484778" r:id="rId16"/>
    <p:sldLayoutId id="2147484779" r:id="rId17"/>
    <p:sldLayoutId id="2147484780" r:id="rId18"/>
    <p:sldLayoutId id="2147484781" r:id="rId19"/>
    <p:sldLayoutId id="2147484782" r:id="rId20"/>
    <p:sldLayoutId id="2147484783" r:id="rId21"/>
    <p:sldLayoutId id="2147484784" r:id="rId22"/>
    <p:sldLayoutId id="2147484785" r:id="rId23"/>
    <p:sldLayoutId id="2147484786" r:id="rId24"/>
    <p:sldLayoutId id="2147484787" r:id="rId25"/>
    <p:sldLayoutId id="2147484249" r:id="rId26"/>
    <p:sldLayoutId id="2147484640" r:id="rId27"/>
    <p:sldLayoutId id="2147484789" r:id="rId28"/>
    <p:sldLayoutId id="2147484583" r:id="rId29"/>
    <p:sldLayoutId id="2147484671" r:id="rId30"/>
    <p:sldLayoutId id="2147484673" r:id="rId31"/>
    <p:sldLayoutId id="2147484585" r:id="rId32"/>
    <p:sldLayoutId id="2147484299" r:id="rId33"/>
    <p:sldLayoutId id="2147484263" r:id="rId34"/>
    <p:sldLayoutId id="2147484788" r:id="rId35"/>
    <p:sldLayoutId id="2147484790" r:id="rId3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66762566"/>
      </p:ext>
    </p:extLst>
  </p:cSld>
  <p:clrMap bg1="lt1" tx1="dk1" bg2="lt2" tx2="dk2" accent1="accent1" accent2="accent2" accent3="accent3" accent4="accent4" accent5="accent5" accent6="accent6" hlink="hlink" folHlink="folHlink"/>
  <p:sldLayoutIdLst>
    <p:sldLayoutId id="2147484950" r:id="rId1"/>
    <p:sldLayoutId id="2147484951" r:id="rId2"/>
    <p:sldLayoutId id="2147484952" r:id="rId3"/>
    <p:sldLayoutId id="2147484953" r:id="rId4"/>
    <p:sldLayoutId id="2147484954" r:id="rId5"/>
    <p:sldLayoutId id="2147484955" r:id="rId6"/>
    <p:sldLayoutId id="2147484956" r:id="rId7"/>
    <p:sldLayoutId id="2147484957" r:id="rId8"/>
    <p:sldLayoutId id="2147484958" r:id="rId9"/>
    <p:sldLayoutId id="2147484959" r:id="rId10"/>
    <p:sldLayoutId id="2147484960" r:id="rId11"/>
    <p:sldLayoutId id="2147484961" r:id="rId12"/>
    <p:sldLayoutId id="2147484962" r:id="rId13"/>
    <p:sldLayoutId id="2147484963" r:id="rId14"/>
    <p:sldLayoutId id="2147484964" r:id="rId15"/>
    <p:sldLayoutId id="2147484965" r:id="rId16"/>
    <p:sldLayoutId id="2147484966" r:id="rId17"/>
    <p:sldLayoutId id="2147484967" r:id="rId18"/>
    <p:sldLayoutId id="2147484968" r:id="rId19"/>
    <p:sldLayoutId id="2147484969" r:id="rId20"/>
    <p:sldLayoutId id="2147484970" r:id="rId21"/>
    <p:sldLayoutId id="2147484971" r:id="rId22"/>
    <p:sldLayoutId id="2147484972" r:id="rId23"/>
    <p:sldLayoutId id="2147484973" r:id="rId24"/>
    <p:sldLayoutId id="2147484974" r:id="rId25"/>
    <p:sldLayoutId id="2147484975" r:id="rId26"/>
    <p:sldLayoutId id="2147484976" r:id="rId27"/>
    <p:sldLayoutId id="2147483704" r:id="rId28"/>
    <p:sldLayoutId id="2147484978" r:id="rId29"/>
    <p:sldLayoutId id="2147484979" r:id="rId30"/>
    <p:sldLayoutId id="2147483707" r:id="rId31"/>
    <p:sldLayoutId id="2147483708" r:id="rId32"/>
    <p:sldLayoutId id="2147484980"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2">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251477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1"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4"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456267900"/>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26" r:id="rId18"/>
    <p:sldLayoutId id="2147484527" r:id="rId19"/>
    <p:sldLayoutId id="2147484528" r:id="rId20"/>
    <p:sldLayoutId id="2147484529" r:id="rId21"/>
    <p:sldLayoutId id="2147484530" r:id="rId22"/>
    <p:sldLayoutId id="2147484531" r:id="rId23"/>
    <p:sldLayoutId id="2147484532" r:id="rId24"/>
    <p:sldLayoutId id="2147484533" r:id="rId25"/>
    <p:sldLayoutId id="2147484534" r:id="rId26"/>
    <p:sldLayoutId id="2147484535" r:id="rId27"/>
    <p:sldLayoutId id="2147484536" r:id="rId28"/>
    <p:sldLayoutId id="2147484537" r:id="rId29"/>
    <p:sldLayoutId id="2147484538" r:id="rId30"/>
    <p:sldLayoutId id="2147484539" r:id="rId31"/>
    <p:sldLayoutId id="2147484540" r:id="rId32"/>
    <p:sldLayoutId id="2147484541" r:id="rId33"/>
    <p:sldLayoutId id="2147484542" r:id="rId34"/>
    <p:sldLayoutId id="2147484543" r:id="rId35"/>
    <p:sldLayoutId id="2147484544" r:id="rId36"/>
    <p:sldLayoutId id="2147484545" r:id="rId37"/>
    <p:sldLayoutId id="2147484546" r:id="rId38"/>
    <p:sldLayoutId id="2147484547" r:id="rId39"/>
    <p:sldLayoutId id="2147484548" r:id="rId40"/>
    <p:sldLayoutId id="2147484549" r:id="rId41"/>
    <p:sldLayoutId id="2147484550" r:id="rId4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8243636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854" r:id="rId3"/>
    <p:sldLayoutId id="2147483664" r:id="rId4"/>
    <p:sldLayoutId id="2147483665" r:id="rId5"/>
    <p:sldLayoutId id="2147484308" r:id="rId6"/>
    <p:sldLayoutId id="2147483676" r:id="rId7"/>
    <p:sldLayoutId id="2147484479" r:id="rId8"/>
    <p:sldLayoutId id="2147484310" r:id="rId9"/>
    <p:sldLayoutId id="2147484311" r:id="rId10"/>
    <p:sldLayoutId id="2147484312" r:id="rId11"/>
    <p:sldLayoutId id="2147483681" r:id="rId12"/>
    <p:sldLayoutId id="2147484313" r:id="rId13"/>
    <p:sldLayoutId id="2147483668" r:id="rId14"/>
    <p:sldLayoutId id="2147483860" r:id="rId15"/>
    <p:sldLayoutId id="2147483670" r:id="rId16"/>
    <p:sldLayoutId id="2147483683" r:id="rId17"/>
    <p:sldLayoutId id="2147483684" r:id="rId18"/>
    <p:sldLayoutId id="2147483685" r:id="rId19"/>
    <p:sldLayoutId id="2147483686" r:id="rId20"/>
    <p:sldLayoutId id="2147484984" r:id="rId21"/>
    <p:sldLayoutId id="2147483673" r:id="rId22"/>
    <p:sldLayoutId id="2147483674" r:id="rId23"/>
    <p:sldLayoutId id="2147483675" r:id="rId24"/>
    <p:sldLayoutId id="2147483687" r:id="rId25"/>
    <p:sldLayoutId id="2147483688" r:id="rId26"/>
    <p:sldLayoutId id="2147483689" r:id="rId27"/>
    <p:sldLayoutId id="2147483690" r:id="rId28"/>
    <p:sldLayoutId id="2147483691" r:id="rId29"/>
    <p:sldLayoutId id="2147483677" r:id="rId30"/>
    <p:sldLayoutId id="2147483678" r:id="rId31"/>
    <p:sldLayoutId id="2147483679" r:id="rId32"/>
    <p:sldLayoutId id="2147483680" r:id="rId33"/>
    <p:sldLayoutId id="2147483692" r:id="rId34"/>
    <p:sldLayoutId id="2147483693" r:id="rId35"/>
    <p:sldLayoutId id="2147483694" r:id="rId36"/>
    <p:sldLayoutId id="2147483695" r:id="rId37"/>
    <p:sldLayoutId id="2147483696" r:id="rId38"/>
    <p:sldLayoutId id="2147483875" r:id="rId39"/>
    <p:sldLayoutId id="2147483876" r:id="rId40"/>
    <p:sldLayoutId id="2147483877" r:id="rId41"/>
    <p:sldLayoutId id="2147483878" r:id="rId42"/>
    <p:sldLayoutId id="2147484185" r:id="rId43"/>
    <p:sldLayoutId id="2147483682" r:id="rId44"/>
    <p:sldLayoutId id="2147483858" r:id="rId45"/>
    <p:sldLayoutId id="2147483998" r:id="rId46"/>
    <p:sldLayoutId id="2147483698" r:id="rId47"/>
    <p:sldLayoutId id="2147483699" r:id="rId48"/>
  </p:sldLayoutIdLst>
  <p:transition>
    <p:fade/>
  </p:transition>
  <p:hf sldNum="0" hdr="0" ftr="0" dt="0"/>
  <p:txStyles>
    <p:titleStyle>
      <a:lvl1pPr algn="l" defTabSz="914192" rtl="0" eaLnBrk="1" latinLnBrk="0" hangingPunct="1">
        <a:lnSpc>
          <a:spcPct val="90000"/>
        </a:lnSpc>
        <a:spcBef>
          <a:spcPct val="0"/>
        </a:spcBef>
        <a:buNone/>
        <a:defRPr lang="en-US" sz="4704"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5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07"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1567" b="0" i="0" kern="1200" spc="0" baseline="0">
          <a:solidFill>
            <a:schemeClr val="tx1"/>
          </a:solidFill>
          <a:latin typeface="+mn-lt"/>
          <a:ea typeface="+mn-ea"/>
          <a:cs typeface="+mn-cs"/>
        </a:defRPr>
      </a:lvl3pPr>
      <a:lvl4pPr marL="672161"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1567" b="0" i="0" kern="1200" spc="0" baseline="0">
          <a:solidFill>
            <a:schemeClr val="tx1"/>
          </a:solidFill>
          <a:latin typeface="+mn-lt"/>
          <a:ea typeface="+mn-ea"/>
          <a:cs typeface="+mn-cs"/>
        </a:defRPr>
      </a:lvl4pPr>
      <a:lvl5pPr marL="896214" marR="0" indent="0" algn="l" defTabSz="914192" rtl="0" eaLnBrk="1" fontAlgn="auto" latinLnBrk="0" hangingPunct="1">
        <a:lnSpc>
          <a:spcPct val="90000"/>
        </a:lnSpc>
        <a:spcBef>
          <a:spcPct val="20000"/>
        </a:spcBef>
        <a:spcAft>
          <a:spcPts val="0"/>
        </a:spcAft>
        <a:buClrTx/>
        <a:buSzPct val="90000"/>
        <a:buFont typeface="Wingdings" panose="05000000000000000000" pitchFamily="2" charset="2"/>
        <a:buNone/>
        <a:tabLst/>
        <a:defRPr sz="1567" b="0" i="0" kern="1200" spc="0" baseline="0">
          <a:solidFill>
            <a:schemeClr val="tx1"/>
          </a:soli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3">
          <p15:clr>
            <a:srgbClr val="5ACBF0"/>
          </p15:clr>
        </p15:guide>
        <p15:guide id="2" pos="170">
          <p15:clr>
            <a:srgbClr val="5ACBF0"/>
          </p15:clr>
        </p15:guide>
        <p15:guide id="3" pos="734">
          <p15:clr>
            <a:srgbClr val="5ACBF0"/>
          </p15:clr>
        </p15:guide>
        <p15:guide id="4" pos="1299">
          <p15:clr>
            <a:srgbClr val="5ACBF0"/>
          </p15:clr>
        </p15:guide>
        <p15:guide id="5" pos="1864">
          <p15:clr>
            <a:srgbClr val="5ACBF0"/>
          </p15:clr>
        </p15:guide>
        <p15:guide id="6" pos="2428">
          <p15:clr>
            <a:srgbClr val="5ACBF0"/>
          </p15:clr>
        </p15:guide>
        <p15:guide id="7" pos="2993">
          <p15:clr>
            <a:srgbClr val="5ACBF0"/>
          </p15:clr>
        </p15:guide>
        <p15:guide id="8" pos="3558">
          <p15:clr>
            <a:srgbClr val="5ACBF0"/>
          </p15:clr>
        </p15:guide>
        <p15:guide id="9" pos="4122">
          <p15:clr>
            <a:srgbClr val="5ACBF0"/>
          </p15:clr>
        </p15:guide>
        <p15:guide id="10" pos="4687">
          <p15:clr>
            <a:srgbClr val="5ACBF0"/>
          </p15:clr>
        </p15:guide>
        <p15:guide id="11" pos="5252">
          <p15:clr>
            <a:srgbClr val="5ACBF0"/>
          </p15:clr>
        </p15:guide>
        <p15:guide id="12" pos="5816">
          <p15:clr>
            <a:srgbClr val="5ACBF0"/>
          </p15:clr>
        </p15:guide>
        <p15:guide id="13" pos="6381">
          <p15:clr>
            <a:srgbClr val="5ACBF0"/>
          </p15:clr>
        </p15:guide>
        <p15:guide id="14" pos="6946">
          <p15:clr>
            <a:srgbClr val="5ACBF0"/>
          </p15:clr>
        </p15:guide>
        <p15:guide id="15" pos="7510">
          <p15:clr>
            <a:srgbClr val="5ACBF0"/>
          </p15:clr>
        </p15:guide>
        <p15:guide id="16" pos="282">
          <p15:clr>
            <a:srgbClr val="C35EA4"/>
          </p15:clr>
        </p15:guide>
        <p15:guide id="17" pos="7398">
          <p15:clr>
            <a:srgbClr val="C35EA4"/>
          </p15:clr>
        </p15:guide>
        <p15:guide id="18" orient="horz" pos="748">
          <p15:clr>
            <a:srgbClr val="5ACBF0"/>
          </p15:clr>
        </p15:guide>
        <p15:guide id="19" orient="horz" pos="1313">
          <p15:clr>
            <a:srgbClr val="5ACBF0"/>
          </p15:clr>
        </p15:guide>
        <p15:guide id="20" orient="horz" pos="1878">
          <p15:clr>
            <a:srgbClr val="5ACBF0"/>
          </p15:clr>
        </p15:guide>
        <p15:guide id="21" orient="horz" pos="2442">
          <p15:clr>
            <a:srgbClr val="5ACBF0"/>
          </p15:clr>
        </p15:guide>
        <p15:guide id="22" orient="horz" pos="3007">
          <p15:clr>
            <a:srgbClr val="5ACBF0"/>
          </p15:clr>
        </p15:guide>
        <p15:guide id="23" orient="horz" pos="3572">
          <p15:clr>
            <a:srgbClr val="5ACBF0"/>
          </p15:clr>
        </p15:guide>
        <p15:guide id="24" orient="horz" pos="4137">
          <p15:clr>
            <a:srgbClr val="5ACBF0"/>
          </p15:clr>
        </p15:guide>
        <p15:guide id="25" orient="horz" pos="296">
          <p15:clr>
            <a:srgbClr val="C35EA4"/>
          </p15:clr>
        </p15:guide>
        <p15:guide id="26" orient="horz" pos="4024">
          <p15:clr>
            <a:srgbClr val="C35EA4"/>
          </p15:clr>
        </p15:guide>
        <p15:guide id="27" pos="384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
        <p:nvSpPr>
          <p:cNvPr id="49" name="Footer Placeholder 3">
            <a:extLst>
              <a:ext uri="{FF2B5EF4-FFF2-40B4-BE49-F238E27FC236}">
                <a16:creationId xmlns:a16="http://schemas.microsoft.com/office/drawing/2014/main" id="{6A7399CD-8850-4D85-91D5-451FBA80134F}"/>
              </a:ext>
            </a:extLst>
          </p:cNvPr>
          <p:cNvSpPr>
            <a:spLocks noGrp="1"/>
          </p:cNvSpPr>
          <p:nvPr>
            <p:ph type="ftr" sz="quarter" idx="3"/>
          </p:nvPr>
        </p:nvSpPr>
        <p:spPr>
          <a:xfrm>
            <a:off x="498475" y="6565391"/>
            <a:ext cx="2451100" cy="246221"/>
          </a:xfrm>
          <a:prstGeom prst="rect">
            <a:avLst/>
          </a:prstGeom>
        </p:spPr>
        <p:txBody>
          <a:bodyPr>
            <a:spAutoFit/>
          </a:bodyPr>
          <a:lstStyle>
            <a:lvl1pPr>
              <a:defRPr sz="1000">
                <a:solidFill>
                  <a:schemeClr val="bg1">
                    <a:lumMod val="50000"/>
                  </a:schemeClr>
                </a:solidFill>
              </a:defRPr>
            </a:lvl1pPr>
          </a:lstStyle>
          <a:p>
            <a:r>
              <a:rPr lang="en-IN"/>
              <a:t>Microsoft Confidential—Internal Only</a:t>
            </a:r>
          </a:p>
        </p:txBody>
      </p:sp>
      <p:sp>
        <p:nvSpPr>
          <p:cNvPr id="34" name="Slide Number Placeholder 33">
            <a:extLst>
              <a:ext uri="{FF2B5EF4-FFF2-40B4-BE49-F238E27FC236}">
                <a16:creationId xmlns:a16="http://schemas.microsoft.com/office/drawing/2014/main" id="{5412D678-0797-4C8A-B228-D11DF1C9DA43}"/>
              </a:ext>
            </a:extLst>
          </p:cNvPr>
          <p:cNvSpPr>
            <a:spLocks noGrp="1"/>
          </p:cNvSpPr>
          <p:nvPr>
            <p:ph type="sldNum" sz="quarter" idx="4"/>
          </p:nvPr>
        </p:nvSpPr>
        <p:spPr>
          <a:xfrm>
            <a:off x="11671935" y="6565391"/>
            <a:ext cx="380999" cy="246221"/>
          </a:xfrm>
          <a:prstGeom prst="rect">
            <a:avLst/>
          </a:prstGeom>
        </p:spPr>
        <p:txBody>
          <a:bodyPr wrap="square">
            <a:spAutoFit/>
          </a:bodyPr>
          <a:lstStyle>
            <a:lvl1pPr>
              <a:defRPr lang="en-IN" sz="1000" smtClean="0">
                <a:solidFill>
                  <a:schemeClr val="bg1">
                    <a:lumMod val="50000"/>
                  </a:schemeClr>
                </a:solidFill>
              </a:defRPr>
            </a:lvl1pPr>
          </a:lstStyle>
          <a:p>
            <a:fld id="{EAA0DCFB-5E65-472C-A423-BA3AA87976EA}" type="slidenum">
              <a:rPr lang="en-IN" smtClean="0"/>
              <a:pPr/>
              <a:t>‹#›</a:t>
            </a:fld>
            <a:endParaRPr lang="en-IN"/>
          </a:p>
        </p:txBody>
      </p:sp>
    </p:spTree>
    <p:extLst>
      <p:ext uri="{BB962C8B-B14F-4D97-AF65-F5344CB8AC3E}">
        <p14:creationId xmlns:p14="http://schemas.microsoft.com/office/powerpoint/2010/main" val="1177259460"/>
      </p:ext>
    </p:extLst>
  </p:cSld>
  <p:clrMap bg1="lt1" tx1="dk1" bg2="lt2" tx2="dk2" accent1="accent1" accent2="accent2" accent3="accent3" accent4="accent4" accent5="accent5" accent6="accent6" hlink="hlink" folHlink="folHlink"/>
  <p:sldLayoutIdLst>
    <p:sldLayoutId id="2147483672" r:id="rId1"/>
  </p:sldLayoutIdLst>
  <p:transition>
    <p:fade/>
  </p:transition>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5"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084189026"/>
      </p:ext>
    </p:extLst>
  </p:cSld>
  <p:clrMap bg1="lt1" tx1="dk1" bg2="lt2" tx2="dk2" accent1="accent1" accent2="accent2" accent3="accent3" accent4="accent4" accent5="accent5" accent6="accent6" hlink="hlink" folHlink="folHlink"/>
  <p:sldLayoutIdLst>
    <p:sldLayoutId id="2147485405" r:id="rId1"/>
    <p:sldLayoutId id="2147485406" r:id="rId2"/>
    <p:sldLayoutId id="2147485407" r:id="rId3"/>
    <p:sldLayoutId id="2147485408" r:id="rId4"/>
    <p:sldLayoutId id="2147485409" r:id="rId5"/>
    <p:sldLayoutId id="2147485410" r:id="rId6"/>
    <p:sldLayoutId id="2147485411" r:id="rId7"/>
    <p:sldLayoutId id="2147485412" r:id="rId8"/>
    <p:sldLayoutId id="2147485413" r:id="rId9"/>
    <p:sldLayoutId id="2147485414" r:id="rId10"/>
    <p:sldLayoutId id="2147485415" r:id="rId11"/>
    <p:sldLayoutId id="2147485416" r:id="rId12"/>
    <p:sldLayoutId id="2147485417" r:id="rId13"/>
    <p:sldLayoutId id="2147485418" r:id="rId14"/>
    <p:sldLayoutId id="2147485419" r:id="rId15"/>
    <p:sldLayoutId id="2147485420" r:id="rId16"/>
    <p:sldLayoutId id="2147485421" r:id="rId17"/>
    <p:sldLayoutId id="2147485422" r:id="rId18"/>
    <p:sldLayoutId id="2147485423" r:id="rId19"/>
    <p:sldLayoutId id="2147485424" r:id="rId20"/>
    <p:sldLayoutId id="2147485425" r:id="rId21"/>
    <p:sldLayoutId id="2147485426" r:id="rId22"/>
    <p:sldLayoutId id="2147485427" r:id="rId23"/>
    <p:sldLayoutId id="2147485428" r:id="rId24"/>
    <p:sldLayoutId id="2147485429" r:id="rId25"/>
    <p:sldLayoutId id="2147485430" r:id="rId26"/>
    <p:sldLayoutId id="2147485431" r:id="rId27"/>
    <p:sldLayoutId id="2147485432" r:id="rId28"/>
    <p:sldLayoutId id="2147485433" r:id="rId29"/>
    <p:sldLayoutId id="2147485434" r:id="rId30"/>
    <p:sldLayoutId id="2147485435" r:id="rId31"/>
    <p:sldLayoutId id="2147485436" r:id="rId32"/>
    <p:sldLayoutId id="2147485437" r:id="rId33"/>
    <p:sldLayoutId id="2147485438" r:id="rId34"/>
    <p:sldLayoutId id="2147485439" r:id="rId35"/>
    <p:sldLayoutId id="2147485440" r:id="rId36"/>
    <p:sldLayoutId id="2147485441" r:id="rId37"/>
    <p:sldLayoutId id="2147485442" r:id="rId38"/>
    <p:sldLayoutId id="2147485443" r:id="rId39"/>
    <p:sldLayoutId id="2147485444" r:id="rId40"/>
    <p:sldLayoutId id="2147485445" r:id="rId41"/>
    <p:sldLayoutId id="2147485446" r:id="rId42"/>
    <p:sldLayoutId id="2147485447" r:id="rId43"/>
    <p:sldLayoutId id="2147485448" r:id="rId44"/>
    <p:sldLayoutId id="2147485449" r:id="rId45"/>
    <p:sldLayoutId id="2147485450" r:id="rId46"/>
    <p:sldLayoutId id="2147485451" r:id="rId47"/>
    <p:sldLayoutId id="2147485452" r:id="rId48"/>
    <p:sldLayoutId id="2147485453" r:id="rId49"/>
    <p:sldLayoutId id="2147485454" r:id="rId50"/>
    <p:sldLayoutId id="2147485455" r:id="rId51"/>
    <p:sldLayoutId id="2147485456" r:id="rId52"/>
    <p:sldLayoutId id="2147485457" r:id="rId53"/>
    <p:sldLayoutId id="2147485458" r:id="rId54"/>
    <p:sldLayoutId id="2147485459" r:id="rId55"/>
    <p:sldLayoutId id="2147485460" r:id="rId56"/>
    <p:sldLayoutId id="2147485461" r:id="rId57"/>
    <p:sldLayoutId id="2147485462" r:id="rId58"/>
    <p:sldLayoutId id="2147485463" r:id="rId59"/>
    <p:sldLayoutId id="2147485464" r:id="rId60"/>
    <p:sldLayoutId id="2147485465" r:id="rId61"/>
    <p:sldLayoutId id="2147485466" r:id="rId62"/>
    <p:sldLayoutId id="2147485467" r:id="rId63"/>
    <p:sldLayoutId id="2147485468" r:id="rId64"/>
    <p:sldLayoutId id="2147485469" r:id="rId65"/>
    <p:sldLayoutId id="2147485470" r:id="rId66"/>
    <p:sldLayoutId id="2147485471" r:id="rId67"/>
    <p:sldLayoutId id="2147485472" r:id="rId68"/>
    <p:sldLayoutId id="2147485473" r:id="rId69"/>
    <p:sldLayoutId id="2147485474" r:id="rId70"/>
    <p:sldLayoutId id="2147485475" r:id="rId71"/>
    <p:sldLayoutId id="2147485476" r:id="rId72"/>
    <p:sldLayoutId id="2147485477" r:id="rId73"/>
    <p:sldLayoutId id="2147485478" r:id="rId74"/>
    <p:sldLayoutId id="2147485479" r:id="rId75"/>
    <p:sldLayoutId id="2147485480" r:id="rId76"/>
    <p:sldLayoutId id="2147485481" r:id="rId77"/>
    <p:sldLayoutId id="2147485482" r:id="rId78"/>
    <p:sldLayoutId id="2147485483" r:id="rId79"/>
    <p:sldLayoutId id="2147485484" r:id="rId80"/>
    <p:sldLayoutId id="2147485485" r:id="rId81"/>
    <p:sldLayoutId id="2147485486" r:id="rId82"/>
    <p:sldLayoutId id="2147485487" r:id="rId83"/>
    <p:sldLayoutId id="2147485488" r:id="rId84"/>
    <p:sldLayoutId id="2147485489" r:id="rId85"/>
    <p:sldLayoutId id="2147485490" r:id="rId86"/>
    <p:sldLayoutId id="2147485491" r:id="rId87"/>
    <p:sldLayoutId id="2147485492" r:id="rId88"/>
    <p:sldLayoutId id="2147485493" r:id="rId89"/>
    <p:sldLayoutId id="2147485494" r:id="rId90"/>
    <p:sldLayoutId id="2147485495" r:id="rId91"/>
    <p:sldLayoutId id="2147485496" r:id="rId92"/>
    <p:sldLayoutId id="2147485497" r:id="rId93"/>
    <p:sldLayoutId id="2147485498" r:id="rId94"/>
    <p:sldLayoutId id="2147485499" r:id="rId95"/>
    <p:sldLayoutId id="2147485500" r:id="rId96"/>
    <p:sldLayoutId id="2147485501" r:id="rId97"/>
    <p:sldLayoutId id="2147485502" r:id="rId98"/>
    <p:sldLayoutId id="2147485503" r:id="rId99"/>
    <p:sldLayoutId id="2147485504" r:id="rId100"/>
    <p:sldLayoutId id="2147485505" r:id="rId101"/>
    <p:sldLayoutId id="2147485506" r:id="rId102"/>
    <p:sldLayoutId id="2147485507" r:id="rId103"/>
    <p:sldLayoutId id="2147485508" r:id="rId104"/>
    <p:sldLayoutId id="2147485509" r:id="rId105"/>
    <p:sldLayoutId id="2147485510" r:id="rId106"/>
    <p:sldLayoutId id="2147485511" r:id="rId107"/>
    <p:sldLayoutId id="2147485512" r:id="rId108"/>
    <p:sldLayoutId id="2147485513" r:id="rId109"/>
    <p:sldLayoutId id="2147485514" r:id="rId110"/>
    <p:sldLayoutId id="2147485515" r:id="rId111"/>
    <p:sldLayoutId id="2147485516" r:id="rId112"/>
    <p:sldLayoutId id="2147485517" r:id="rId1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9">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3156215245"/>
      </p:ext>
    </p:extLst>
  </p:cSld>
  <p:clrMap bg1="lt1" tx1="dk1" bg2="lt2" tx2="dk2" accent1="accent1" accent2="accent2" accent3="accent3" accent4="accent4" accent5="accent5" accent6="accent6" hlink="hlink" folHlink="folHlink"/>
  <p:sldLayoutIdLst>
    <p:sldLayoutId id="2147485519" r:id="rId1"/>
    <p:sldLayoutId id="2147485520" r:id="rId2"/>
    <p:sldLayoutId id="2147485521" r:id="rId3"/>
    <p:sldLayoutId id="2147485522" r:id="rId4"/>
    <p:sldLayoutId id="2147485523" r:id="rId5"/>
    <p:sldLayoutId id="2147485524" r:id="rId6"/>
    <p:sldLayoutId id="2147485525" r:id="rId7"/>
    <p:sldLayoutId id="2147485526" r:id="rId8"/>
    <p:sldLayoutId id="2147485527" r:id="rId9"/>
    <p:sldLayoutId id="2147485528" r:id="rId10"/>
    <p:sldLayoutId id="2147485529" r:id="rId11"/>
    <p:sldLayoutId id="2147485530" r:id="rId12"/>
    <p:sldLayoutId id="2147485531" r:id="rId13"/>
    <p:sldLayoutId id="2147485532" r:id="rId14"/>
    <p:sldLayoutId id="2147485533" r:id="rId15"/>
    <p:sldLayoutId id="2147485534" r:id="rId16"/>
    <p:sldLayoutId id="2147485535" r:id="rId17"/>
    <p:sldLayoutId id="2147485536" r:id="rId18"/>
    <p:sldLayoutId id="2147485537" r:id="rId19"/>
    <p:sldLayoutId id="2147485538" r:id="rId20"/>
    <p:sldLayoutId id="2147485539" r:id="rId21"/>
    <p:sldLayoutId id="2147485540" r:id="rId22"/>
    <p:sldLayoutId id="2147485541" r:id="rId23"/>
    <p:sldLayoutId id="2147485542" r:id="rId24"/>
    <p:sldLayoutId id="2147485543" r:id="rId25"/>
    <p:sldLayoutId id="2147485544" r:id="rId26"/>
    <p:sldLayoutId id="2147485545" r:id="rId27"/>
    <p:sldLayoutId id="2147485546" r:id="rId28"/>
    <p:sldLayoutId id="2147485547" r:id="rId29"/>
    <p:sldLayoutId id="2147485548" r:id="rId30"/>
    <p:sldLayoutId id="2147485549" r:id="rId31"/>
    <p:sldLayoutId id="2147485550" r:id="rId32"/>
    <p:sldLayoutId id="2147485551" r:id="rId33"/>
    <p:sldLayoutId id="2147485552" r:id="rId34"/>
    <p:sldLayoutId id="2147485553" r:id="rId35"/>
    <p:sldLayoutId id="2147485554" r:id="rId36"/>
    <p:sldLayoutId id="2147485555" r:id="rId37"/>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8.xml"/></Relationships>
</file>

<file path=ppt/slides/_rels/slide10.xml.rels><?xml version="1.0" encoding="UTF-8" standalone="yes"?>
<Relationships xmlns="http://schemas.openxmlformats.org/package/2006/relationships"><Relationship Id="rId3" Type="http://schemas.openxmlformats.org/officeDocument/2006/relationships/hyperlink" Target="aka.ms/InclusiveHiring" TargetMode="Externa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9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1.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s>
</file>

<file path=ppt/slides/_rels/slide12.xml.rels><?xml version="1.0" encoding="UTF-8" standalone="yes"?>
<Relationships xmlns="http://schemas.openxmlformats.org/package/2006/relationships"><Relationship Id="rId3" Type="http://schemas.openxmlformats.org/officeDocument/2006/relationships/hyperlink" Target="Aka.ms/AccessibilityFundamentals" TargetMode="External"/><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10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image" Target="../media/image88.emf"/><Relationship Id="rId7" Type="http://schemas.openxmlformats.org/officeDocument/2006/relationships/image" Target="../media/image92.png"/><Relationship Id="rId2" Type="http://schemas.openxmlformats.org/officeDocument/2006/relationships/image" Target="../media/image87.jpeg"/><Relationship Id="rId1" Type="http://schemas.openxmlformats.org/officeDocument/2006/relationships/slideLayout" Target="../slideLayouts/slideLayout5.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72.xml"/></Relationships>
</file>

<file path=ppt/slides/_rels/slide8.xml.rels><?xml version="1.0" encoding="UTF-8" standalone="yes"?>
<Relationships xmlns="http://schemas.openxmlformats.org/package/2006/relationships"><Relationship Id="rId3" Type="http://schemas.openxmlformats.org/officeDocument/2006/relationships/image" Target="../media/image95.png"/><Relationship Id="rId2" Type="http://schemas.microsoft.com/office/2018/10/relationships/comments" Target="../comments/modernComment_805_C8941348.xml"/><Relationship Id="rId1" Type="http://schemas.openxmlformats.org/officeDocument/2006/relationships/slideLayout" Target="../slideLayouts/slideLayout5.xml"/><Relationship Id="rId5" Type="http://schemas.openxmlformats.org/officeDocument/2006/relationships/hyperlink" Target="https://www.levelaccess.com/resources-2/topics/digital-accessibility-maturity-model-damm/" TargetMode="External"/><Relationship Id="rId4" Type="http://schemas.openxmlformats.org/officeDocument/2006/relationships/hyperlink" Target="https://resources.sei.cmu.edu/library/asset-view.cfm?assetid=11965"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4199" y="2856668"/>
            <a:ext cx="9940365" cy="677108"/>
          </a:xfrm>
        </p:spPr>
        <p:txBody>
          <a:bodyPr/>
          <a:lstStyle/>
          <a:p>
            <a:r>
              <a:rPr lang="en-US" sz="4400" dirty="0">
                <a:solidFill>
                  <a:schemeClr val="tx1"/>
                </a:solidFill>
              </a:rPr>
              <a:t>Evolution of the Accessibility Ecosystem</a:t>
            </a:r>
          </a:p>
        </p:txBody>
      </p:sp>
      <p:sp>
        <p:nvSpPr>
          <p:cNvPr id="5" name="Text Placeholder 4"/>
          <p:cNvSpPr>
            <a:spLocks noGrp="1"/>
          </p:cNvSpPr>
          <p:nvPr>
            <p:ph type="body" sz="quarter" idx="12"/>
          </p:nvPr>
        </p:nvSpPr>
        <p:spPr>
          <a:xfrm>
            <a:off x="584200" y="3962400"/>
            <a:ext cx="9144000" cy="430887"/>
          </a:xfrm>
        </p:spPr>
        <p:txBody>
          <a:bodyPr/>
          <a:lstStyle/>
          <a:p>
            <a:r>
              <a:rPr lang="en-US" sz="2800"/>
              <a:t>Jenny Lay-Flurrie  </a:t>
            </a:r>
            <a:endParaRPr lang="en-US" sz="2800" dirty="0"/>
          </a:p>
        </p:txBody>
      </p:sp>
    </p:spTree>
    <p:extLst>
      <p:ext uri="{BB962C8B-B14F-4D97-AF65-F5344CB8AC3E}">
        <p14:creationId xmlns:p14="http://schemas.microsoft.com/office/powerpoint/2010/main" val="3349316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9AAA30F-BC4B-400D-B7B0-093B3AB98017}"/>
              </a:ext>
            </a:extLst>
          </p:cNvPr>
          <p:cNvSpPr>
            <a:spLocks noGrp="1"/>
          </p:cNvSpPr>
          <p:nvPr>
            <p:ph type="title"/>
          </p:nvPr>
        </p:nvSpPr>
        <p:spPr>
          <a:xfrm>
            <a:off x="330322" y="103267"/>
            <a:ext cx="11018520" cy="724044"/>
          </a:xfrm>
        </p:spPr>
        <p:txBody>
          <a:bodyPr/>
          <a:lstStyle/>
          <a:p>
            <a:r>
              <a:rPr lang="en-US" sz="4705" kern="0" spc="-98">
                <a:latin typeface="Segoe UI Semibold" panose="020B0702040204020203" pitchFamily="34" charset="0"/>
                <a:cs typeface="Segoe UI Semibold" panose="020B0702040204020203" pitchFamily="34" charset="0"/>
              </a:rPr>
              <a:t>Inclusive Hiring</a:t>
            </a:r>
          </a:p>
        </p:txBody>
      </p:sp>
      <p:sp>
        <p:nvSpPr>
          <p:cNvPr id="10" name="TextBox 9">
            <a:extLst>
              <a:ext uri="{FF2B5EF4-FFF2-40B4-BE49-F238E27FC236}">
                <a16:creationId xmlns:a16="http://schemas.microsoft.com/office/drawing/2014/main" id="{9F0EFE98-1516-485A-9DF7-83B758C935DF}"/>
              </a:ext>
            </a:extLst>
          </p:cNvPr>
          <p:cNvSpPr txBox="1"/>
          <p:nvPr/>
        </p:nvSpPr>
        <p:spPr>
          <a:xfrm>
            <a:off x="330322" y="1024819"/>
            <a:ext cx="6778044" cy="1177245"/>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1224"/>
              </a:spcBef>
              <a:spcAft>
                <a:spcPts val="300"/>
              </a:spcAft>
              <a:buClr>
                <a:srgbClr val="1A1A1A"/>
              </a:buClr>
              <a:buSzPct val="90000"/>
              <a:buFontTx/>
              <a:buNone/>
              <a:tabLst/>
              <a:defRPr/>
            </a:pPr>
            <a:r>
              <a:rPr kumimoji="0" lang="en-US" sz="20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panose="020B0502040204020203" pitchFamily="34" charset="0"/>
              </a:rPr>
              <a:t>Disability is a strength, and our Inclusive Hiring programs include our Neurodiversity Hiring Program, Supported Employment, and broad disability hiring across the compan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835C1A93-2FE2-4D86-9841-1CC00CD1BAF5}"/>
              </a:ext>
            </a:extLst>
          </p:cNvPr>
          <p:cNvSpPr/>
          <p:nvPr/>
        </p:nvSpPr>
        <p:spPr>
          <a:xfrm>
            <a:off x="347943" y="2465718"/>
            <a:ext cx="6665262"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75" normalizeH="0" baseline="0" noProof="0" dirty="0">
                <a:ln>
                  <a:noFill/>
                </a:ln>
                <a:solidFill>
                  <a:srgbClr val="00B0F0"/>
                </a:solidFill>
                <a:effectLst/>
                <a:uLnTx/>
                <a:uFillTx/>
                <a:latin typeface="Segoe UI Semibold" panose="020B0702040204020203" pitchFamily="34" charset="0"/>
                <a:ea typeface="+mn-ea"/>
                <a:cs typeface="Segoe UI Semibold" panose="020B0702040204020203" pitchFamily="34" charset="0"/>
              </a:rPr>
              <a:t>Neurodiversity Hiring Program: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Calibri" pitchFamily="34" charset="0"/>
              </a:rPr>
              <a:t>Recruiting, onboarding, and retention of neurodiverse candidates.</a:t>
            </a:r>
          </a:p>
        </p:txBody>
      </p:sp>
      <p:sp>
        <p:nvSpPr>
          <p:cNvPr id="12" name="Rectangle 11">
            <a:extLst>
              <a:ext uri="{FF2B5EF4-FFF2-40B4-BE49-F238E27FC236}">
                <a16:creationId xmlns:a16="http://schemas.microsoft.com/office/drawing/2014/main" id="{6BB7D67C-6E65-47B0-BA62-DB674128E825}"/>
              </a:ext>
            </a:extLst>
          </p:cNvPr>
          <p:cNvSpPr/>
          <p:nvPr/>
        </p:nvSpPr>
        <p:spPr>
          <a:xfrm>
            <a:off x="347943" y="3309557"/>
            <a:ext cx="6096000" cy="1115690"/>
          </a:xfrm>
          <a:prstGeom prst="rect">
            <a:avLst/>
          </a:prstGeom>
        </p:spPr>
        <p:txBody>
          <a:bodyPr>
            <a:spAutoFit/>
          </a:bodyPr>
          <a:lstStyle/>
          <a:p>
            <a:pPr marL="0" marR="0" lvl="0" indent="0" algn="l" defTabSz="763172"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75"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a:p>
            <a:pPr defTabSz="914400">
              <a:defRPr/>
            </a:pPr>
            <a:r>
              <a:rPr lang="en-US" sz="2400" b="1" kern="0" spc="-75" dirty="0">
                <a:solidFill>
                  <a:srgbClr val="00B0F0"/>
                </a:solidFill>
                <a:latin typeface="Segoe UI Semibold" panose="020B0702040204020203" pitchFamily="34" charset="0"/>
                <a:cs typeface="Segoe UI Semibold" panose="020B0702040204020203" pitchFamily="34" charset="0"/>
              </a:rPr>
              <a:t>Supported Employmen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Calibri" pitchFamily="34" charset="0"/>
              </a:rPr>
              <a:t>Supporting people with intellectual developmental disabilities via Real Estate &amp; Facilities vendor ecosystem. </a:t>
            </a:r>
          </a:p>
        </p:txBody>
      </p:sp>
      <p:sp>
        <p:nvSpPr>
          <p:cNvPr id="13" name="Rectangle 12">
            <a:extLst>
              <a:ext uri="{FF2B5EF4-FFF2-40B4-BE49-F238E27FC236}">
                <a16:creationId xmlns:a16="http://schemas.microsoft.com/office/drawing/2014/main" id="{DEF2173A-05AE-4B72-A271-980340480C69}"/>
              </a:ext>
            </a:extLst>
          </p:cNvPr>
          <p:cNvSpPr/>
          <p:nvPr/>
        </p:nvSpPr>
        <p:spPr>
          <a:xfrm>
            <a:off x="330322" y="4575402"/>
            <a:ext cx="6923918" cy="954107"/>
          </a:xfrm>
          <a:prstGeom prst="rect">
            <a:avLst/>
          </a:prstGeom>
        </p:spPr>
        <p:txBody>
          <a:bodyPr wrap="square">
            <a:spAutoFit/>
          </a:bodyPr>
          <a:lstStyle/>
          <a:p>
            <a:pPr defTabSz="914400">
              <a:defRPr/>
            </a:pPr>
            <a:r>
              <a:rPr lang="en-US" sz="2400" b="1" kern="0" spc="-75" dirty="0">
                <a:solidFill>
                  <a:srgbClr val="00B0F0"/>
                </a:solidFill>
                <a:latin typeface="Segoe UI Semibold" panose="020B0702040204020203" pitchFamily="34" charset="0"/>
                <a:cs typeface="Segoe UI Semibold" panose="020B0702040204020203" pitchFamily="34" charset="0"/>
              </a:rPr>
              <a:t>Broad Disability Hiring: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Segoe UI"/>
                <a:ea typeface="+mn-ea"/>
                <a:cs typeface="Calibri" pitchFamily="34" charset="0"/>
              </a:rPr>
              <a:t>Foundational structures that support hiring people from all disability segments into FTE roles across Microsoft.</a:t>
            </a:r>
          </a:p>
        </p:txBody>
      </p:sp>
      <p:sp>
        <p:nvSpPr>
          <p:cNvPr id="14" name="Rectangle 13">
            <a:extLst>
              <a:ext uri="{FF2B5EF4-FFF2-40B4-BE49-F238E27FC236}">
                <a16:creationId xmlns:a16="http://schemas.microsoft.com/office/drawing/2014/main" id="{BF268DA3-E86C-48A2-A028-25F829A0ED34}"/>
              </a:ext>
            </a:extLst>
          </p:cNvPr>
          <p:cNvSpPr/>
          <p:nvPr/>
        </p:nvSpPr>
        <p:spPr>
          <a:xfrm>
            <a:off x="330322" y="6021328"/>
            <a:ext cx="6096000" cy="615553"/>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B0F0"/>
                </a:solidFill>
                <a:effectLst/>
                <a:uLnTx/>
                <a:uFillTx/>
                <a:latin typeface="Segoe UI"/>
                <a:ea typeface="+mn-ea"/>
                <a:cs typeface="+mn-cs"/>
              </a:rPr>
              <a:t>Learn More</a:t>
            </a:r>
            <a:endParaRPr kumimoji="0" lang="en-US" sz="1800" b="0" i="0" u="none" strike="noStrike" kern="1200" cap="none" spc="0" normalizeH="0" baseline="0" noProof="0">
              <a:ln>
                <a:noFill/>
              </a:ln>
              <a:solidFill>
                <a:srgbClr val="00B0F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aka.ms/InclusiveHiring</a:t>
            </a: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pic>
        <p:nvPicPr>
          <p:cNvPr id="15" name="Picture 14" descr="Collage of Microsoft employees with disabilities">
            <a:extLst>
              <a:ext uri="{FF2B5EF4-FFF2-40B4-BE49-F238E27FC236}">
                <a16:creationId xmlns:a16="http://schemas.microsoft.com/office/drawing/2014/main" id="{49A01EAF-7B52-4681-8844-F05C90D509D8}"/>
              </a:ext>
            </a:extLst>
          </p:cNvPr>
          <p:cNvPicPr>
            <a:picLocks noChangeAspect="1"/>
          </p:cNvPicPr>
          <p:nvPr/>
        </p:nvPicPr>
        <p:blipFill>
          <a:blip r:embed="rId4"/>
          <a:stretch>
            <a:fillRect/>
          </a:stretch>
        </p:blipFill>
        <p:spPr>
          <a:xfrm>
            <a:off x="7235490" y="0"/>
            <a:ext cx="4943857" cy="6858000"/>
          </a:xfrm>
          <a:prstGeom prst="rect">
            <a:avLst/>
          </a:prstGeom>
        </p:spPr>
      </p:pic>
    </p:spTree>
    <p:extLst>
      <p:ext uri="{BB962C8B-B14F-4D97-AF65-F5344CB8AC3E}">
        <p14:creationId xmlns:p14="http://schemas.microsoft.com/office/powerpoint/2010/main" val="160724482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A4CC0BDD-BDAA-41D0-962F-C5676952359B}"/>
              </a:ext>
            </a:extLst>
          </p:cNvPr>
          <p:cNvSpPr>
            <a:spLocks noGrp="1"/>
          </p:cNvSpPr>
          <p:nvPr>
            <p:ph type="title"/>
          </p:nvPr>
        </p:nvSpPr>
        <p:spPr>
          <a:xfrm>
            <a:off x="364231" y="311155"/>
            <a:ext cx="4987615" cy="2468627"/>
          </a:xfrm>
        </p:spPr>
        <p:txBody>
          <a:bodyPr vert="horz" lIns="91440" tIns="45720" rIns="91440" bIns="45720" rtlCol="0" anchor="t">
            <a:normAutofit/>
          </a:bodyPr>
          <a:lstStyle/>
          <a:p>
            <a:r>
              <a:rPr lang="en-US" sz="4400" kern="1200" dirty="0">
                <a:latin typeface="Segoe UI Semibold"/>
                <a:cs typeface="Segoe UI Semibold"/>
              </a:rPr>
              <a:t>Innovation</a:t>
            </a:r>
            <a:endParaRPr lang="en-US" sz="4400" kern="1200" dirty="0">
              <a:solidFill>
                <a:srgbClr val="C00000"/>
              </a:solidFill>
              <a:latin typeface="Segoe UI Semibold" panose="020B0702040204020203" pitchFamily="34" charset="0"/>
              <a:cs typeface="Segoe UI Semibold" panose="020B0702040204020203" pitchFamily="34" charset="0"/>
            </a:endParaRPr>
          </a:p>
        </p:txBody>
      </p:sp>
      <p:pic>
        <p:nvPicPr>
          <p:cNvPr id="9" name="Picture 2" descr="Screen capture from Forza with captions and an ASL interpreter">
            <a:extLst>
              <a:ext uri="{FF2B5EF4-FFF2-40B4-BE49-F238E27FC236}">
                <a16:creationId xmlns:a16="http://schemas.microsoft.com/office/drawing/2014/main" id="{40DC86D3-426C-4640-9C7A-BF842CE095C0}"/>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246491" y="1968916"/>
            <a:ext cx="3856262" cy="2535412"/>
          </a:xfrm>
          <a:prstGeom prst="rect">
            <a:avLst/>
          </a:prstGeom>
          <a:noFill/>
          <a:ln>
            <a:solidFill>
              <a:schemeClr val="bg1">
                <a:lumMod val="65000"/>
                <a:lumOff val="35000"/>
              </a:schemeClr>
            </a:solidFill>
          </a:ln>
          <a:extLst>
            <a:ext uri="{909E8E84-426E-40DD-AFC4-6F175D3DCCD1}">
              <a14:hiddenFill xmlns:a14="http://schemas.microsoft.com/office/drawing/2010/main">
                <a:solidFill>
                  <a:srgbClr val="FFFFFF"/>
                </a:solidFill>
              </a14:hiddenFill>
            </a:ext>
          </a:extLst>
        </p:spPr>
      </p:pic>
      <p:pic>
        <p:nvPicPr>
          <p:cNvPr id="6" name="Picture 2" descr="See the source image">
            <a:extLst>
              <a:ext uri="{FF2B5EF4-FFF2-40B4-BE49-F238E27FC236}">
                <a16:creationId xmlns:a16="http://schemas.microsoft.com/office/drawing/2014/main" id="{8F32A93A-38F2-410C-B915-4111CDC21504}"/>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4293585" y="1986031"/>
            <a:ext cx="3856263" cy="254024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Close-up photo showing a Peloton Bike screen and an instructor with live subtitling.">
            <a:extLst>
              <a:ext uri="{FF2B5EF4-FFF2-40B4-BE49-F238E27FC236}">
                <a16:creationId xmlns:a16="http://schemas.microsoft.com/office/drawing/2014/main" id="{94F057A2-A31F-47BA-911A-1E4DDF59C9E1}"/>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p:blipFill>
        <p:spPr bwMode="auto">
          <a:xfrm>
            <a:off x="8303560" y="1963613"/>
            <a:ext cx="3683234" cy="2540715"/>
          </a:xfrm>
          <a:prstGeom prst="rect">
            <a:avLst/>
          </a:prstGeom>
          <a:solidFill>
            <a:srgbClr val="FFFFFF"/>
          </a:solidFill>
          <a:ln>
            <a:solidFill>
              <a:schemeClr val="bg1">
                <a:lumMod val="75000"/>
                <a:lumOff val="25000"/>
              </a:schemeClr>
            </a:solidFill>
          </a:ln>
        </p:spPr>
      </p:pic>
      <p:sp>
        <p:nvSpPr>
          <p:cNvPr id="10" name="Rectangle 9">
            <a:extLst>
              <a:ext uri="{FF2B5EF4-FFF2-40B4-BE49-F238E27FC236}">
                <a16:creationId xmlns:a16="http://schemas.microsoft.com/office/drawing/2014/main" id="{902FCE9D-6541-4208-992D-694D471CEC8D}"/>
              </a:ext>
            </a:extLst>
          </p:cNvPr>
          <p:cNvSpPr/>
          <p:nvPr/>
        </p:nvSpPr>
        <p:spPr>
          <a:xfrm>
            <a:off x="246491" y="4504328"/>
            <a:ext cx="3856262" cy="548640"/>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Inclusive Gaming</a:t>
            </a:r>
          </a:p>
        </p:txBody>
      </p:sp>
      <p:sp>
        <p:nvSpPr>
          <p:cNvPr id="3" name="Rectangle 2">
            <a:extLst>
              <a:ext uri="{FF2B5EF4-FFF2-40B4-BE49-F238E27FC236}">
                <a16:creationId xmlns:a16="http://schemas.microsoft.com/office/drawing/2014/main" id="{1A7A535E-4B14-4D36-8176-3BBBB4E8591E}"/>
              </a:ext>
            </a:extLst>
          </p:cNvPr>
          <p:cNvSpPr/>
          <p:nvPr/>
        </p:nvSpPr>
        <p:spPr>
          <a:xfrm>
            <a:off x="4293585" y="4504328"/>
            <a:ext cx="3856261" cy="548640"/>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Surface Adaptive Kit</a:t>
            </a:r>
          </a:p>
        </p:txBody>
      </p:sp>
      <p:sp>
        <p:nvSpPr>
          <p:cNvPr id="5" name="Rectangle 4">
            <a:extLst>
              <a:ext uri="{FF2B5EF4-FFF2-40B4-BE49-F238E27FC236}">
                <a16:creationId xmlns:a16="http://schemas.microsoft.com/office/drawing/2014/main" id="{A03F7211-514D-4B8D-BE2B-178AD2B42AD7}"/>
              </a:ext>
            </a:extLst>
          </p:cNvPr>
          <p:cNvSpPr/>
          <p:nvPr/>
        </p:nvSpPr>
        <p:spPr>
          <a:xfrm>
            <a:off x="8303559" y="4516170"/>
            <a:ext cx="3683234" cy="548640"/>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bg1"/>
                </a:solidFill>
                <a:effectLst/>
                <a:uLnTx/>
                <a:uFillTx/>
                <a:latin typeface="+mj-lt"/>
                <a:ea typeface="+mn-ea"/>
                <a:cs typeface="Segoe UI" panose="020B0502040204020203" pitchFamily="34" charset="0"/>
              </a:rPr>
              <a:t>Cognitive Services</a:t>
            </a:r>
          </a:p>
        </p:txBody>
      </p:sp>
    </p:spTree>
    <p:custDataLst>
      <p:tags r:id="rId1"/>
    </p:custDataLst>
    <p:extLst>
      <p:ext uri="{BB962C8B-B14F-4D97-AF65-F5344CB8AC3E}">
        <p14:creationId xmlns:p14="http://schemas.microsoft.com/office/powerpoint/2010/main" val="168858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96EEFB4-E43E-42B6-BC60-10ECD60C7B40}"/>
              </a:ext>
            </a:extLst>
          </p:cNvPr>
          <p:cNvSpPr>
            <a:spLocks noGrp="1"/>
          </p:cNvSpPr>
          <p:nvPr>
            <p:ph type="title"/>
          </p:nvPr>
        </p:nvSpPr>
        <p:spPr>
          <a:xfrm>
            <a:off x="309716" y="198970"/>
            <a:ext cx="10343043" cy="618631"/>
          </a:xfrm>
        </p:spPr>
        <p:txBody>
          <a:bodyPr/>
          <a:lstStyle/>
          <a:p>
            <a:r>
              <a:rPr lang="en-US" sz="3600">
                <a:cs typeface="Segoe UI"/>
              </a:rPr>
              <a:t>Training: Accessibility in Action Badge</a:t>
            </a:r>
            <a:endParaRPr lang="en-US" sz="3600"/>
          </a:p>
        </p:txBody>
      </p:sp>
      <p:pic>
        <p:nvPicPr>
          <p:cNvPr id="2" name="Picture 1" descr="Screen capture from the Accessibility Fundamentals training site.">
            <a:hlinkClick r:id="rId3"/>
            <a:extLst>
              <a:ext uri="{FF2B5EF4-FFF2-40B4-BE49-F238E27FC236}">
                <a16:creationId xmlns:a16="http://schemas.microsoft.com/office/drawing/2014/main" id="{63017066-8FF7-4B52-964C-0A4C6ECF62C7}"/>
              </a:ext>
            </a:extLst>
          </p:cNvPr>
          <p:cNvPicPr>
            <a:picLocks noChangeAspect="1"/>
          </p:cNvPicPr>
          <p:nvPr/>
        </p:nvPicPr>
        <p:blipFill>
          <a:blip r:embed="rId4"/>
          <a:stretch>
            <a:fillRect/>
          </a:stretch>
        </p:blipFill>
        <p:spPr>
          <a:xfrm>
            <a:off x="0" y="1233228"/>
            <a:ext cx="12192000" cy="4941802"/>
          </a:xfrm>
          <a:prstGeom prst="rect">
            <a:avLst/>
          </a:prstGeom>
        </p:spPr>
      </p:pic>
      <p:sp>
        <p:nvSpPr>
          <p:cNvPr id="3" name="Diagonal Stripe 2">
            <a:extLst>
              <a:ext uri="{FF2B5EF4-FFF2-40B4-BE49-F238E27FC236}">
                <a16:creationId xmlns:a16="http://schemas.microsoft.com/office/drawing/2014/main" id="{B2B00FE3-56AD-433F-80FE-CEB129860F11}"/>
              </a:ext>
              <a:ext uri="{C183D7F6-B498-43B3-948B-1728B52AA6E4}">
                <adec:decorative xmlns:adec="http://schemas.microsoft.com/office/drawing/2017/decorative" val="1"/>
              </a:ext>
            </a:extLst>
          </p:cNvPr>
          <p:cNvSpPr/>
          <p:nvPr/>
        </p:nvSpPr>
        <p:spPr bwMode="auto">
          <a:xfrm rot="5400000">
            <a:off x="9543047" y="-371429"/>
            <a:ext cx="2286000" cy="3011904"/>
          </a:xfrm>
          <a:prstGeom prst="diagStrip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vert270" wrap="square" lIns="182880" tIns="182880" rIns="182880" bIns="0" numCol="1" spcCol="0" rtlCol="0" fromWordArt="0" anchor="ctr" anchorCtr="0" forceAA="0" compatLnSpc="1">
            <a:prstTxWarp prst="textNoShape">
              <a:avLst/>
            </a:prstTxWarp>
            <a:noAutofit/>
          </a:bodyPr>
          <a:lstStyle/>
          <a:p>
            <a:pPr algn="ctr"/>
            <a:r>
              <a:rPr lang="en-US" sz="4400">
                <a:latin typeface="+mj-lt"/>
              </a:rPr>
              <a:t>160k!</a:t>
            </a:r>
            <a:endParaRPr lang="en-US" sz="4400" dirty="0">
              <a:latin typeface="+mj-lt"/>
            </a:endParaRPr>
          </a:p>
        </p:txBody>
      </p:sp>
      <p:sp>
        <p:nvSpPr>
          <p:cNvPr id="4" name="TextBox 3">
            <a:extLst>
              <a:ext uri="{FF2B5EF4-FFF2-40B4-BE49-F238E27FC236}">
                <a16:creationId xmlns:a16="http://schemas.microsoft.com/office/drawing/2014/main" id="{2FAC6A7A-3C74-459C-951E-4BF05DFEA3D6}"/>
              </a:ext>
            </a:extLst>
          </p:cNvPr>
          <p:cNvSpPr txBox="1"/>
          <p:nvPr/>
        </p:nvSpPr>
        <p:spPr>
          <a:xfrm>
            <a:off x="244980" y="6294608"/>
            <a:ext cx="11947019"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2400" b="1" dirty="0">
                <a:solidFill>
                  <a:srgbClr val="00B0F0"/>
                </a:solidFill>
                <a:latin typeface="Segoe UI"/>
              </a:rPr>
              <a:t>Internal: </a:t>
            </a:r>
            <a:r>
              <a:rPr kumimoji="0" lang="en-US" sz="2400" b="0" i="0" u="none" strike="noStrike" kern="1200" cap="none" spc="0" normalizeH="0" baseline="0" noProof="0" dirty="0">
                <a:ln>
                  <a:noFill/>
                </a:ln>
                <a:solidFill>
                  <a:srgbClr val="FFFFFF"/>
                </a:solidFill>
                <a:effectLst/>
                <a:uLnTx/>
                <a:uFillTx/>
                <a:latin typeface="Segoe UI"/>
                <a:ea typeface="+mn-ea"/>
                <a:cs typeface="+mn-cs"/>
              </a:rPr>
              <a:t>aka.</a:t>
            </a:r>
            <a:r>
              <a:rPr kumimoji="0" lang="en-US" sz="2400" i="0" u="none" strike="noStrike" kern="1200" cap="none" spc="0" normalizeH="0" baseline="0" noProof="0" dirty="0">
                <a:ln>
                  <a:noFill/>
                </a:ln>
                <a:solidFill>
                  <a:srgbClr val="FFFFFF"/>
                </a:solidFill>
                <a:effectLst/>
                <a:uLnTx/>
                <a:uFillTx/>
                <a:latin typeface="Segoe UI"/>
                <a:ea typeface="+mn-ea"/>
                <a:cs typeface="+mn-cs"/>
              </a:rPr>
              <a:t>ms/AccLibrary      </a:t>
            </a:r>
            <a:r>
              <a:rPr kumimoji="0" lang="en-US" sz="2400" b="1" i="0" u="none" strike="noStrike" kern="1200" cap="none" spc="0" normalizeH="0" baseline="0" noProof="0" dirty="0">
                <a:ln>
                  <a:noFill/>
                </a:ln>
                <a:solidFill>
                  <a:srgbClr val="FFFFFF"/>
                </a:solidFill>
                <a:effectLst/>
                <a:uLnTx/>
                <a:uFillTx/>
                <a:latin typeface="Segoe UI"/>
                <a:ea typeface="+mn-ea"/>
                <a:cs typeface="+mn-cs"/>
              </a:rPr>
              <a:t>		</a:t>
            </a:r>
            <a:r>
              <a:rPr kumimoji="0" lang="en-US" sz="2400" b="1" i="0" u="none" strike="noStrike" kern="1200" cap="none" spc="0" normalizeH="0" baseline="0" noProof="0" dirty="0">
                <a:ln>
                  <a:noFill/>
                </a:ln>
                <a:solidFill>
                  <a:srgbClr val="00B0F0"/>
                </a:solidFill>
                <a:effectLst/>
                <a:uLnTx/>
                <a:uFillTx/>
                <a:latin typeface="Segoe UI"/>
                <a:ea typeface="+mn-ea"/>
                <a:cs typeface="+mn-cs"/>
              </a:rPr>
              <a:t>External: </a:t>
            </a:r>
            <a:r>
              <a:rPr kumimoji="0" lang="en-US" sz="2400" b="0" i="0" u="none" strike="noStrike" kern="1200" cap="none" spc="0" normalizeH="0" baseline="0" noProof="0" dirty="0">
                <a:ln>
                  <a:noFill/>
                </a:ln>
                <a:solidFill>
                  <a:srgbClr val="FFFFFF"/>
                </a:solidFill>
                <a:effectLst/>
                <a:uLnTx/>
                <a:uFillTx/>
                <a:latin typeface="Segoe UI"/>
                <a:ea typeface="+mn-ea"/>
                <a:cs typeface="+mn-cs"/>
              </a:rPr>
              <a:t>aka.ms/AccessibilityFundamentals</a:t>
            </a:r>
          </a:p>
        </p:txBody>
      </p:sp>
    </p:spTree>
    <p:extLst>
      <p:ext uri="{BB962C8B-B14F-4D97-AF65-F5344CB8AC3E}">
        <p14:creationId xmlns:p14="http://schemas.microsoft.com/office/powerpoint/2010/main" val="5811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B050EC-A584-453E-8396-7FFCF79268AC}"/>
              </a:ext>
            </a:extLst>
          </p:cNvPr>
          <p:cNvSpPr>
            <a:spLocks noGrp="1"/>
          </p:cNvSpPr>
          <p:nvPr>
            <p:ph type="title"/>
          </p:nvPr>
        </p:nvSpPr>
        <p:spPr/>
        <p:txBody>
          <a:bodyPr/>
          <a:lstStyle/>
          <a:p>
            <a:r>
              <a:rPr lang="en-US" dirty="0"/>
              <a:t>Lessons Learned</a:t>
            </a:r>
          </a:p>
        </p:txBody>
      </p:sp>
    </p:spTree>
    <p:extLst>
      <p:ext uri="{BB962C8B-B14F-4D97-AF65-F5344CB8AC3E}">
        <p14:creationId xmlns:p14="http://schemas.microsoft.com/office/powerpoint/2010/main" val="46898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96EEFB4-E43E-42B6-BC60-10ECD60C7B40}"/>
              </a:ext>
            </a:extLst>
          </p:cNvPr>
          <p:cNvSpPr>
            <a:spLocks noGrp="1"/>
          </p:cNvSpPr>
          <p:nvPr>
            <p:ph type="title"/>
          </p:nvPr>
        </p:nvSpPr>
        <p:spPr>
          <a:xfrm>
            <a:off x="483704" y="2415397"/>
            <a:ext cx="4850296" cy="3019288"/>
          </a:xfrm>
        </p:spPr>
        <p:txBody>
          <a:bodyPr lIns="91440" rIns="91440"/>
          <a:lstStyle/>
          <a:p>
            <a:r>
              <a:rPr lang="en-US" sz="6000" dirty="0">
                <a:solidFill>
                  <a:srgbClr val="00B0F0"/>
                </a:solidFill>
                <a:cs typeface="Segoe UI"/>
              </a:rPr>
              <a:t>Avoid the ROI trap</a:t>
            </a:r>
            <a:br>
              <a:rPr lang="en-US" sz="3600" dirty="0">
                <a:cs typeface="Segoe UI"/>
              </a:rPr>
            </a:br>
            <a:br>
              <a:rPr lang="en-US" sz="3600" dirty="0"/>
            </a:br>
            <a:endParaRPr lang="en-US" sz="3600" dirty="0"/>
          </a:p>
        </p:txBody>
      </p:sp>
      <p:sp>
        <p:nvSpPr>
          <p:cNvPr id="5" name="Diagonal Stripe 4">
            <a:extLst>
              <a:ext uri="{FF2B5EF4-FFF2-40B4-BE49-F238E27FC236}">
                <a16:creationId xmlns:a16="http://schemas.microsoft.com/office/drawing/2014/main" id="{B4747835-456F-4B99-A889-AE2AA7ABC9FD}"/>
              </a:ext>
              <a:ext uri="{C183D7F6-B498-43B3-948B-1728B52AA6E4}">
                <adec:decorative xmlns:adec="http://schemas.microsoft.com/office/drawing/2017/decorative" val="1"/>
              </a:ext>
            </a:extLst>
          </p:cNvPr>
          <p:cNvSpPr/>
          <p:nvPr/>
        </p:nvSpPr>
        <p:spPr bwMode="auto">
          <a:xfrm>
            <a:off x="2" y="-2"/>
            <a:ext cx="2286000" cy="2011680"/>
          </a:xfrm>
          <a:prstGeom prst="diagStrip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tx1"/>
              </a:solidFill>
              <a:latin typeface="+mj-lt"/>
              <a:ea typeface="Segoe UI" pitchFamily="34" charset="0"/>
              <a:cs typeface="Segoe UI" pitchFamily="34" charset="0"/>
            </a:endParaRPr>
          </a:p>
        </p:txBody>
      </p:sp>
      <p:sp>
        <p:nvSpPr>
          <p:cNvPr id="7" name="TextBox 6">
            <a:extLst>
              <a:ext uri="{FF2B5EF4-FFF2-40B4-BE49-F238E27FC236}">
                <a16:creationId xmlns:a16="http://schemas.microsoft.com/office/drawing/2014/main" id="{767BC1D4-AA94-4B62-A8D4-561C72317AB8}"/>
              </a:ext>
            </a:extLst>
          </p:cNvPr>
          <p:cNvSpPr txBox="1"/>
          <p:nvPr/>
        </p:nvSpPr>
        <p:spPr>
          <a:xfrm>
            <a:off x="0" y="174841"/>
            <a:ext cx="1407695" cy="830997"/>
          </a:xfrm>
          <a:prstGeom prst="rect">
            <a:avLst/>
          </a:prstGeom>
          <a:noFill/>
        </p:spPr>
        <p:txBody>
          <a:bodyPr wrap="square" lIns="0" tIns="0" rIns="0" bIns="0" rtlCol="0">
            <a:spAutoFit/>
          </a:bodyPr>
          <a:lstStyle/>
          <a:p>
            <a:pPr algn="ctr"/>
            <a:r>
              <a:rPr lang="en-US" sz="5400" dirty="0">
                <a:latin typeface="+mj-lt"/>
              </a:rPr>
              <a:t>1</a:t>
            </a:r>
          </a:p>
        </p:txBody>
      </p:sp>
      <p:pic>
        <p:nvPicPr>
          <p:cNvPr id="4" name="Picture 3" descr="A dial with the word ROI on it turned to high">
            <a:extLst>
              <a:ext uri="{FF2B5EF4-FFF2-40B4-BE49-F238E27FC236}">
                <a16:creationId xmlns:a16="http://schemas.microsoft.com/office/drawing/2014/main" id="{DCD6E97A-38FE-437E-B6D5-EED373A17CD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248867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96EEFB4-E43E-42B6-BC60-10ECD60C7B40}"/>
              </a:ext>
            </a:extLst>
          </p:cNvPr>
          <p:cNvSpPr>
            <a:spLocks noGrp="1"/>
          </p:cNvSpPr>
          <p:nvPr>
            <p:ph type="title"/>
          </p:nvPr>
        </p:nvSpPr>
        <p:spPr>
          <a:xfrm>
            <a:off x="551605" y="2473354"/>
            <a:ext cx="4782395" cy="2834622"/>
          </a:xfrm>
        </p:spPr>
        <p:txBody>
          <a:bodyPr lIns="91440" rIns="91440"/>
          <a:lstStyle/>
          <a:p>
            <a:r>
              <a:rPr lang="en-US" sz="6000" dirty="0">
                <a:solidFill>
                  <a:srgbClr val="00B0F0"/>
                </a:solidFill>
                <a:cs typeface="Segoe UI"/>
              </a:rPr>
              <a:t>Marathon…</a:t>
            </a:r>
            <a:br>
              <a:rPr lang="en-US" sz="6000" dirty="0">
                <a:solidFill>
                  <a:srgbClr val="00B0F0"/>
                </a:solidFill>
                <a:cs typeface="Segoe UI"/>
              </a:rPr>
            </a:br>
            <a:r>
              <a:rPr lang="en-US" sz="6000" dirty="0">
                <a:solidFill>
                  <a:srgbClr val="00B0F0"/>
                </a:solidFill>
                <a:cs typeface="Segoe UI"/>
              </a:rPr>
              <a:t>not a sprint</a:t>
            </a:r>
            <a:br>
              <a:rPr lang="en-US" sz="6000" dirty="0">
                <a:solidFill>
                  <a:srgbClr val="00B0F0"/>
                </a:solidFill>
                <a:cs typeface="Segoe UI"/>
              </a:rPr>
            </a:br>
            <a:endParaRPr lang="en-US" sz="6000" dirty="0">
              <a:solidFill>
                <a:srgbClr val="00B0F0"/>
              </a:solidFill>
            </a:endParaRPr>
          </a:p>
        </p:txBody>
      </p:sp>
      <p:sp>
        <p:nvSpPr>
          <p:cNvPr id="5" name="Diagonal Stripe 4">
            <a:extLst>
              <a:ext uri="{FF2B5EF4-FFF2-40B4-BE49-F238E27FC236}">
                <a16:creationId xmlns:a16="http://schemas.microsoft.com/office/drawing/2014/main" id="{908F73B8-23A5-4BC7-9219-2C327AA39A11}"/>
              </a:ext>
              <a:ext uri="{C183D7F6-B498-43B3-948B-1728B52AA6E4}">
                <adec:decorative xmlns:adec="http://schemas.microsoft.com/office/drawing/2017/decorative" val="1"/>
              </a:ext>
            </a:extLst>
          </p:cNvPr>
          <p:cNvSpPr/>
          <p:nvPr/>
        </p:nvSpPr>
        <p:spPr bwMode="auto">
          <a:xfrm>
            <a:off x="2" y="-2"/>
            <a:ext cx="2286000" cy="2011680"/>
          </a:xfrm>
          <a:prstGeom prst="diagStrip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tx1"/>
              </a:solidFill>
              <a:latin typeface="+mj-lt"/>
              <a:ea typeface="Segoe UI" pitchFamily="34" charset="0"/>
              <a:cs typeface="Segoe UI" pitchFamily="34" charset="0"/>
            </a:endParaRPr>
          </a:p>
        </p:txBody>
      </p:sp>
      <p:sp>
        <p:nvSpPr>
          <p:cNvPr id="7" name="TextBox 6">
            <a:extLst>
              <a:ext uri="{FF2B5EF4-FFF2-40B4-BE49-F238E27FC236}">
                <a16:creationId xmlns:a16="http://schemas.microsoft.com/office/drawing/2014/main" id="{6F3FF2BF-1788-452E-9A47-A0F4D683E88C}"/>
              </a:ext>
            </a:extLst>
          </p:cNvPr>
          <p:cNvSpPr txBox="1"/>
          <p:nvPr/>
        </p:nvSpPr>
        <p:spPr>
          <a:xfrm>
            <a:off x="0" y="174841"/>
            <a:ext cx="1407695" cy="830997"/>
          </a:xfrm>
          <a:prstGeom prst="rect">
            <a:avLst/>
          </a:prstGeom>
          <a:noFill/>
        </p:spPr>
        <p:txBody>
          <a:bodyPr wrap="square" lIns="0" tIns="0" rIns="0" bIns="0" rtlCol="0">
            <a:spAutoFit/>
          </a:bodyPr>
          <a:lstStyle/>
          <a:p>
            <a:pPr algn="ctr"/>
            <a:r>
              <a:rPr lang="en-US" sz="5400" dirty="0">
                <a:latin typeface="+mj-lt"/>
              </a:rPr>
              <a:t>2</a:t>
            </a:r>
          </a:p>
        </p:txBody>
      </p:sp>
      <p:pic>
        <p:nvPicPr>
          <p:cNvPr id="4" name="Picture 3" descr="An illustration of the work success and a growing bar chart">
            <a:extLst>
              <a:ext uri="{FF2B5EF4-FFF2-40B4-BE49-F238E27FC236}">
                <a16:creationId xmlns:a16="http://schemas.microsoft.com/office/drawing/2014/main" id="{FC34CC27-F1C7-4074-B65C-55F48E98366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334000" y="0"/>
            <a:ext cx="6858000" cy="6858000"/>
          </a:xfrm>
          <a:prstGeom prst="rect">
            <a:avLst/>
          </a:prstGeom>
        </p:spPr>
      </p:pic>
    </p:spTree>
    <p:extLst>
      <p:ext uri="{BB962C8B-B14F-4D97-AF65-F5344CB8AC3E}">
        <p14:creationId xmlns:p14="http://schemas.microsoft.com/office/powerpoint/2010/main" val="1797130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96EEFB4-E43E-42B6-BC60-10ECD60C7B40}"/>
              </a:ext>
            </a:extLst>
          </p:cNvPr>
          <p:cNvSpPr>
            <a:spLocks noGrp="1"/>
          </p:cNvSpPr>
          <p:nvPr>
            <p:ph type="title"/>
          </p:nvPr>
        </p:nvSpPr>
        <p:spPr>
          <a:xfrm>
            <a:off x="276726" y="2473354"/>
            <a:ext cx="5943600" cy="1911292"/>
          </a:xfrm>
        </p:spPr>
        <p:txBody>
          <a:bodyPr lIns="91440" rIns="91440"/>
          <a:lstStyle/>
          <a:p>
            <a:r>
              <a:rPr lang="en-US" sz="6000" dirty="0">
                <a:solidFill>
                  <a:srgbClr val="00B0F0"/>
                </a:solidFill>
                <a:cs typeface="Segoe UI"/>
              </a:rPr>
              <a:t>Advocacy fatigue is real</a:t>
            </a:r>
            <a:endParaRPr lang="en-US" sz="3600" dirty="0"/>
          </a:p>
        </p:txBody>
      </p:sp>
      <p:sp>
        <p:nvSpPr>
          <p:cNvPr id="2" name="Diagonal Stripe 1">
            <a:extLst>
              <a:ext uri="{FF2B5EF4-FFF2-40B4-BE49-F238E27FC236}">
                <a16:creationId xmlns:a16="http://schemas.microsoft.com/office/drawing/2014/main" id="{99D994E9-5843-475E-BA88-5AD655C8BD1D}"/>
              </a:ext>
              <a:ext uri="{C183D7F6-B498-43B3-948B-1728B52AA6E4}">
                <adec:decorative xmlns:adec="http://schemas.microsoft.com/office/drawing/2017/decorative" val="1"/>
              </a:ext>
            </a:extLst>
          </p:cNvPr>
          <p:cNvSpPr/>
          <p:nvPr/>
        </p:nvSpPr>
        <p:spPr bwMode="auto">
          <a:xfrm>
            <a:off x="2" y="-2"/>
            <a:ext cx="2286000" cy="2011680"/>
          </a:xfrm>
          <a:prstGeom prst="diagStrip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tx1"/>
              </a:solidFill>
              <a:latin typeface="+mj-lt"/>
              <a:ea typeface="Segoe UI" pitchFamily="34" charset="0"/>
              <a:cs typeface="Segoe UI" pitchFamily="34" charset="0"/>
            </a:endParaRPr>
          </a:p>
        </p:txBody>
      </p:sp>
      <p:sp>
        <p:nvSpPr>
          <p:cNvPr id="7" name="TextBox 6">
            <a:extLst>
              <a:ext uri="{FF2B5EF4-FFF2-40B4-BE49-F238E27FC236}">
                <a16:creationId xmlns:a16="http://schemas.microsoft.com/office/drawing/2014/main" id="{7FB7EE5F-D5ED-4D9E-B761-35F47C4ACD9D}"/>
              </a:ext>
            </a:extLst>
          </p:cNvPr>
          <p:cNvSpPr txBox="1"/>
          <p:nvPr/>
        </p:nvSpPr>
        <p:spPr>
          <a:xfrm>
            <a:off x="0" y="174841"/>
            <a:ext cx="1407695" cy="830997"/>
          </a:xfrm>
          <a:prstGeom prst="rect">
            <a:avLst/>
          </a:prstGeom>
          <a:noFill/>
        </p:spPr>
        <p:txBody>
          <a:bodyPr wrap="square" lIns="0" tIns="0" rIns="0" bIns="0" rtlCol="0">
            <a:spAutoFit/>
          </a:bodyPr>
          <a:lstStyle/>
          <a:p>
            <a:pPr algn="ctr"/>
            <a:r>
              <a:rPr lang="en-US" sz="5400" dirty="0">
                <a:latin typeface="+mj-lt"/>
              </a:rPr>
              <a:t>3</a:t>
            </a:r>
          </a:p>
        </p:txBody>
      </p:sp>
      <p:pic>
        <p:nvPicPr>
          <p:cNvPr id="6" name="Picture 5" descr="A person in an office reaching their hand up through a massive pile of papers">
            <a:extLst>
              <a:ext uri="{FF2B5EF4-FFF2-40B4-BE49-F238E27FC236}">
                <a16:creationId xmlns:a16="http://schemas.microsoft.com/office/drawing/2014/main" id="{EDE4ADE7-7778-4977-BF57-422E4564EBA3}"/>
              </a:ext>
            </a:extLst>
          </p:cNvPr>
          <p:cNvPicPr>
            <a:picLocks noChangeAspect="1"/>
          </p:cNvPicPr>
          <p:nvPr/>
        </p:nvPicPr>
        <p:blipFill rotWithShape="1">
          <a:blip r:embed="rId3">
            <a:extLst>
              <a:ext uri="{28A0092B-C50C-407E-A947-70E740481C1C}">
                <a14:useLocalDpi xmlns:a14="http://schemas.microsoft.com/office/drawing/2010/main"/>
              </a:ext>
            </a:extLst>
          </a:blip>
          <a:srcRect t="-277"/>
          <a:stretch/>
        </p:blipFill>
        <p:spPr>
          <a:xfrm>
            <a:off x="5955631" y="0"/>
            <a:ext cx="6236369" cy="6858000"/>
          </a:xfrm>
          <a:prstGeom prst="rect">
            <a:avLst/>
          </a:prstGeom>
        </p:spPr>
      </p:pic>
    </p:spTree>
    <p:extLst>
      <p:ext uri="{BB962C8B-B14F-4D97-AF65-F5344CB8AC3E}">
        <p14:creationId xmlns:p14="http://schemas.microsoft.com/office/powerpoint/2010/main" val="420181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96EEFB4-E43E-42B6-BC60-10ECD60C7B40}"/>
              </a:ext>
            </a:extLst>
          </p:cNvPr>
          <p:cNvSpPr>
            <a:spLocks noGrp="1"/>
          </p:cNvSpPr>
          <p:nvPr>
            <p:ph type="title"/>
          </p:nvPr>
        </p:nvSpPr>
        <p:spPr>
          <a:xfrm>
            <a:off x="421105" y="2473354"/>
            <a:ext cx="6083119" cy="1911292"/>
          </a:xfrm>
        </p:spPr>
        <p:txBody>
          <a:bodyPr lIns="91440" rIns="91440"/>
          <a:lstStyle/>
          <a:p>
            <a:r>
              <a:rPr lang="en-US" sz="6000" dirty="0">
                <a:solidFill>
                  <a:srgbClr val="00B0F0"/>
                </a:solidFill>
                <a:cs typeface="Segoe UI"/>
              </a:rPr>
              <a:t>Celebrate then accelerate</a:t>
            </a:r>
            <a:endParaRPr lang="en-US" sz="3600" dirty="0"/>
          </a:p>
        </p:txBody>
      </p:sp>
      <p:sp>
        <p:nvSpPr>
          <p:cNvPr id="5" name="Diagonal Stripe 4">
            <a:extLst>
              <a:ext uri="{FF2B5EF4-FFF2-40B4-BE49-F238E27FC236}">
                <a16:creationId xmlns:a16="http://schemas.microsoft.com/office/drawing/2014/main" id="{DE41534F-1B28-4C81-8501-AF6EB063D73B}"/>
              </a:ext>
              <a:ext uri="{C183D7F6-B498-43B3-948B-1728B52AA6E4}">
                <adec:decorative xmlns:adec="http://schemas.microsoft.com/office/drawing/2017/decorative" val="1"/>
              </a:ext>
            </a:extLst>
          </p:cNvPr>
          <p:cNvSpPr/>
          <p:nvPr/>
        </p:nvSpPr>
        <p:spPr bwMode="auto">
          <a:xfrm>
            <a:off x="2" y="-2"/>
            <a:ext cx="2286000" cy="2011680"/>
          </a:xfrm>
          <a:prstGeom prst="diagStrip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tx1"/>
              </a:solidFill>
              <a:latin typeface="+mj-lt"/>
              <a:ea typeface="Segoe UI" pitchFamily="34" charset="0"/>
              <a:cs typeface="Segoe UI" pitchFamily="34" charset="0"/>
            </a:endParaRPr>
          </a:p>
        </p:txBody>
      </p:sp>
      <p:sp>
        <p:nvSpPr>
          <p:cNvPr id="7" name="TextBox 6">
            <a:extLst>
              <a:ext uri="{FF2B5EF4-FFF2-40B4-BE49-F238E27FC236}">
                <a16:creationId xmlns:a16="http://schemas.microsoft.com/office/drawing/2014/main" id="{B5CAC4A3-7018-4242-A1C7-DD0020149658}"/>
              </a:ext>
            </a:extLst>
          </p:cNvPr>
          <p:cNvSpPr txBox="1"/>
          <p:nvPr/>
        </p:nvSpPr>
        <p:spPr>
          <a:xfrm>
            <a:off x="0" y="174841"/>
            <a:ext cx="1407695" cy="830997"/>
          </a:xfrm>
          <a:prstGeom prst="rect">
            <a:avLst/>
          </a:prstGeom>
          <a:noFill/>
        </p:spPr>
        <p:txBody>
          <a:bodyPr wrap="square" lIns="0" tIns="0" rIns="0" bIns="0" rtlCol="0">
            <a:spAutoFit/>
          </a:bodyPr>
          <a:lstStyle/>
          <a:p>
            <a:pPr algn="ctr"/>
            <a:r>
              <a:rPr lang="en-US" sz="5400" dirty="0">
                <a:latin typeface="+mj-lt"/>
              </a:rPr>
              <a:t>4</a:t>
            </a:r>
          </a:p>
        </p:txBody>
      </p:sp>
      <p:pic>
        <p:nvPicPr>
          <p:cNvPr id="4" name="Picture 3" descr="A person with her hand on her chin in front of a chalkboard with illustrations of rockets behind her.">
            <a:extLst>
              <a:ext uri="{FF2B5EF4-FFF2-40B4-BE49-F238E27FC236}">
                <a16:creationId xmlns:a16="http://schemas.microsoft.com/office/drawing/2014/main" id="{C1FABF70-DE6D-41D4-BCC2-D71AAF82087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096000" y="0"/>
            <a:ext cx="6083119" cy="6858000"/>
          </a:xfrm>
          <a:prstGeom prst="rect">
            <a:avLst/>
          </a:prstGeom>
        </p:spPr>
      </p:pic>
    </p:spTree>
    <p:extLst>
      <p:ext uri="{BB962C8B-B14F-4D97-AF65-F5344CB8AC3E}">
        <p14:creationId xmlns:p14="http://schemas.microsoft.com/office/powerpoint/2010/main" val="121601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96EEFB4-E43E-42B6-BC60-10ECD60C7B40}"/>
              </a:ext>
            </a:extLst>
          </p:cNvPr>
          <p:cNvSpPr>
            <a:spLocks noGrp="1"/>
          </p:cNvSpPr>
          <p:nvPr>
            <p:ph type="title"/>
          </p:nvPr>
        </p:nvSpPr>
        <p:spPr>
          <a:xfrm>
            <a:off x="703847" y="2605286"/>
            <a:ext cx="4764505" cy="987963"/>
          </a:xfrm>
        </p:spPr>
        <p:txBody>
          <a:bodyPr lIns="91440" rIns="91440"/>
          <a:lstStyle/>
          <a:p>
            <a:r>
              <a:rPr lang="en-US" sz="6000" dirty="0">
                <a:solidFill>
                  <a:srgbClr val="00B0F0"/>
                </a:solidFill>
                <a:cs typeface="Segoe UI"/>
              </a:rPr>
              <a:t>Better together</a:t>
            </a:r>
            <a:endParaRPr lang="en-US" sz="3600" dirty="0"/>
          </a:p>
        </p:txBody>
      </p:sp>
      <p:sp>
        <p:nvSpPr>
          <p:cNvPr id="2" name="Diagonal Stripe 1">
            <a:extLst>
              <a:ext uri="{FF2B5EF4-FFF2-40B4-BE49-F238E27FC236}">
                <a16:creationId xmlns:a16="http://schemas.microsoft.com/office/drawing/2014/main" id="{A4790A60-783C-4617-89D3-F2101FF3AD6E}"/>
              </a:ext>
              <a:ext uri="{C183D7F6-B498-43B3-948B-1728B52AA6E4}">
                <adec:decorative xmlns:adec="http://schemas.microsoft.com/office/drawing/2017/decorative" val="1"/>
              </a:ext>
            </a:extLst>
          </p:cNvPr>
          <p:cNvSpPr/>
          <p:nvPr/>
        </p:nvSpPr>
        <p:spPr bwMode="auto">
          <a:xfrm>
            <a:off x="2" y="-2"/>
            <a:ext cx="2286000" cy="2011680"/>
          </a:xfrm>
          <a:prstGeom prst="diagStripe">
            <a:avLst>
              <a:gd name="adj" fmla="val 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3200" dirty="0">
              <a:solidFill>
                <a:schemeClr val="tx1"/>
              </a:solidFill>
              <a:latin typeface="+mj-lt"/>
              <a:ea typeface="Segoe UI" pitchFamily="34" charset="0"/>
              <a:cs typeface="Segoe UI" pitchFamily="34" charset="0"/>
            </a:endParaRPr>
          </a:p>
        </p:txBody>
      </p:sp>
      <p:sp>
        <p:nvSpPr>
          <p:cNvPr id="4" name="TextBox 3">
            <a:extLst>
              <a:ext uri="{FF2B5EF4-FFF2-40B4-BE49-F238E27FC236}">
                <a16:creationId xmlns:a16="http://schemas.microsoft.com/office/drawing/2014/main" id="{D1C7FA3C-1A68-4CCC-8818-3BD0B35A7D30}"/>
              </a:ext>
            </a:extLst>
          </p:cNvPr>
          <p:cNvSpPr txBox="1"/>
          <p:nvPr/>
        </p:nvSpPr>
        <p:spPr>
          <a:xfrm>
            <a:off x="0" y="174841"/>
            <a:ext cx="1407695" cy="830997"/>
          </a:xfrm>
          <a:prstGeom prst="rect">
            <a:avLst/>
          </a:prstGeom>
          <a:noFill/>
        </p:spPr>
        <p:txBody>
          <a:bodyPr wrap="square" lIns="0" tIns="0" rIns="0" bIns="0" rtlCol="0">
            <a:spAutoFit/>
          </a:bodyPr>
          <a:lstStyle/>
          <a:p>
            <a:pPr algn="ctr"/>
            <a:r>
              <a:rPr lang="en-US" sz="5400" dirty="0">
                <a:latin typeface="+mj-lt"/>
              </a:rPr>
              <a:t>5</a:t>
            </a:r>
          </a:p>
        </p:txBody>
      </p:sp>
      <p:pic>
        <p:nvPicPr>
          <p:cNvPr id="7" name="Picture 6" descr="A group of people at a table joining hands at the center">
            <a:extLst>
              <a:ext uri="{FF2B5EF4-FFF2-40B4-BE49-F238E27FC236}">
                <a16:creationId xmlns:a16="http://schemas.microsoft.com/office/drawing/2014/main" id="{CB3FB155-BD71-45A5-BD5E-44986140C2A9}"/>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5931570" y="0"/>
            <a:ext cx="6260430" cy="6858000"/>
          </a:xfrm>
          <a:prstGeom prst="rect">
            <a:avLst/>
          </a:prstGeom>
        </p:spPr>
      </p:pic>
    </p:spTree>
    <p:extLst>
      <p:ext uri="{BB962C8B-B14F-4D97-AF65-F5344CB8AC3E}">
        <p14:creationId xmlns:p14="http://schemas.microsoft.com/office/powerpoint/2010/main" val="16656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070BAE6-4F55-453B-8275-8FEA16F09683}"/>
              </a:ext>
            </a:extLst>
          </p:cNvPr>
          <p:cNvSpPr>
            <a:spLocks noGrp="1"/>
          </p:cNvSpPr>
          <p:nvPr>
            <p:ph type="title"/>
          </p:nvPr>
        </p:nvSpPr>
        <p:spPr>
          <a:xfrm>
            <a:off x="363220" y="327660"/>
            <a:ext cx="5508419" cy="372410"/>
          </a:xfrm>
        </p:spPr>
        <p:txBody>
          <a:bodyPr/>
          <a:lstStyle/>
          <a:p>
            <a:r>
              <a:rPr lang="en-US" dirty="0">
                <a:solidFill>
                  <a:schemeClr val="bg1"/>
                </a:solidFill>
              </a:rPr>
              <a:t>Imposter Syndrome</a:t>
            </a:r>
          </a:p>
        </p:txBody>
      </p:sp>
      <p:pic>
        <p:nvPicPr>
          <p:cNvPr id="534530" name="Picture 2" descr="Jenny on stage shaking hands with the host.">
            <a:extLst>
              <a:ext uri="{FF2B5EF4-FFF2-40B4-BE49-F238E27FC236}">
                <a16:creationId xmlns:a16="http://schemas.microsoft.com/office/drawing/2014/main" id="{C16B30AE-0E59-469C-8733-C40806806854}"/>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0" y="0"/>
            <a:ext cx="1220765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97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B050EC-A584-453E-8396-7FFCF79268AC}"/>
              </a:ext>
            </a:extLst>
          </p:cNvPr>
          <p:cNvSpPr>
            <a:spLocks noGrp="1"/>
          </p:cNvSpPr>
          <p:nvPr>
            <p:ph type="title"/>
          </p:nvPr>
        </p:nvSpPr>
        <p:spPr/>
        <p:txBody>
          <a:bodyPr/>
          <a:lstStyle/>
          <a:p>
            <a:r>
              <a:rPr lang="en-US" dirty="0"/>
              <a:t>Our History…</a:t>
            </a:r>
          </a:p>
        </p:txBody>
      </p:sp>
    </p:spTree>
    <p:extLst>
      <p:ext uri="{BB962C8B-B14F-4D97-AF65-F5344CB8AC3E}">
        <p14:creationId xmlns:p14="http://schemas.microsoft.com/office/powerpoint/2010/main" val="926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DFC4B4-4EE0-4137-A045-7EDFF2D81147}"/>
              </a:ext>
              <a:ext uri="{C183D7F6-B498-43B3-948B-1728B52AA6E4}">
                <adec:decorative xmlns:adec="http://schemas.microsoft.com/office/drawing/2017/decorative" val="1"/>
              </a:ext>
            </a:extLst>
          </p:cNvPr>
          <p:cNvSpPr/>
          <p:nvPr/>
        </p:nvSpPr>
        <p:spPr>
          <a:xfrm>
            <a:off x="0" y="0"/>
            <a:ext cx="7217229"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9" name="Title 8">
            <a:extLst>
              <a:ext uri="{FF2B5EF4-FFF2-40B4-BE49-F238E27FC236}">
                <a16:creationId xmlns:a16="http://schemas.microsoft.com/office/drawing/2014/main" id="{048ED1D3-E5D5-4B83-91AD-AD500C75C666}"/>
              </a:ext>
            </a:extLst>
          </p:cNvPr>
          <p:cNvSpPr>
            <a:spLocks noGrp="1"/>
          </p:cNvSpPr>
          <p:nvPr>
            <p:ph type="title" idx="4294967295"/>
          </p:nvPr>
        </p:nvSpPr>
        <p:spPr>
          <a:xfrm>
            <a:off x="406601" y="290343"/>
            <a:ext cx="5507038" cy="1107996"/>
          </a:xfrm>
        </p:spPr>
        <p:txBody>
          <a:bodyPr/>
          <a:lstStyle/>
          <a:p>
            <a:r>
              <a:rPr lang="en-US" dirty="0">
                <a:solidFill>
                  <a:srgbClr val="00B0F0"/>
                </a:solidFill>
              </a:rPr>
              <a:t>Questions? </a:t>
            </a:r>
            <a:br>
              <a:rPr lang="en-US" dirty="0">
                <a:solidFill>
                  <a:schemeClr val="bg1"/>
                </a:solidFill>
              </a:rPr>
            </a:br>
            <a:r>
              <a:rPr lang="en-US" dirty="0">
                <a:solidFill>
                  <a:schemeClr val="bg1"/>
                </a:solidFill>
              </a:rPr>
              <a:t>Contact us at any time!</a:t>
            </a:r>
            <a:endParaRPr lang="en-US" sz="3600" spc="-50" dirty="0">
              <a:solidFill>
                <a:schemeClr val="bg1"/>
              </a:solidFill>
            </a:endParaRPr>
          </a:p>
        </p:txBody>
      </p:sp>
      <p:sp>
        <p:nvSpPr>
          <p:cNvPr id="5" name="TextBox 4">
            <a:extLst>
              <a:ext uri="{FF2B5EF4-FFF2-40B4-BE49-F238E27FC236}">
                <a16:creationId xmlns:a16="http://schemas.microsoft.com/office/drawing/2014/main" id="{0F40BDD9-E00B-4CBC-9702-87A788BDB554}"/>
              </a:ext>
            </a:extLst>
          </p:cNvPr>
          <p:cNvSpPr txBox="1"/>
          <p:nvPr/>
        </p:nvSpPr>
        <p:spPr>
          <a:xfrm>
            <a:off x="491423" y="1890117"/>
            <a:ext cx="6074011" cy="3323987"/>
          </a:xfrm>
          <a:prstGeom prst="rect">
            <a:avLst/>
          </a:prstGeom>
          <a:noFill/>
        </p:spPr>
        <p:txBody>
          <a:bodyPr wrap="square" lIns="0" tIns="0" rIns="0" bIns="0" rtlCol="0" anchor="t">
            <a:spAutoFit/>
          </a:bodyPr>
          <a:lstStyle/>
          <a:p>
            <a:pPr fontAlgn="ctr"/>
            <a:r>
              <a:rPr lang="en-US" sz="2800" dirty="0">
                <a:solidFill>
                  <a:srgbClr val="00B0F0"/>
                </a:solidFill>
                <a:latin typeface="Segoe UI Semibold" panose="020B0702040204020203" pitchFamily="34" charset="0"/>
                <a:cs typeface="Segoe UI Semibold" panose="020B0702040204020203" pitchFamily="34" charset="0"/>
              </a:rPr>
              <a:t>Jenny Lay-Flurrie (</a:t>
            </a:r>
            <a:r>
              <a:rPr lang="en-US" sz="2800" dirty="0" err="1">
                <a:solidFill>
                  <a:srgbClr val="00B0F0"/>
                </a:solidFill>
                <a:latin typeface="Segoe UI Semibold" panose="020B0702040204020203" pitchFamily="34" charset="0"/>
                <a:cs typeface="Segoe UI Semibold" panose="020B0702040204020203" pitchFamily="34" charset="0"/>
              </a:rPr>
              <a:t>jennylf</a:t>
            </a:r>
            <a:r>
              <a:rPr lang="en-US" sz="2800" dirty="0">
                <a:solidFill>
                  <a:srgbClr val="00B0F0"/>
                </a:solidFill>
                <a:latin typeface="Segoe UI Semibold" panose="020B0702040204020203" pitchFamily="34" charset="0"/>
                <a:cs typeface="Segoe UI Semibold" panose="020B0702040204020203" pitchFamily="34" charset="0"/>
              </a:rPr>
              <a:t>)</a:t>
            </a:r>
          </a:p>
          <a:p>
            <a:pPr fontAlgn="ctr"/>
            <a:r>
              <a:rPr lang="en-US" sz="2400" dirty="0">
                <a:solidFill>
                  <a:schemeClr val="bg1">
                    <a:lumMod val="95000"/>
                  </a:schemeClr>
                </a:solidFill>
                <a:latin typeface="Segoe UI Semibold" panose="020B0702040204020203" pitchFamily="34" charset="0"/>
                <a:cs typeface="Segoe UI Semibold" panose="020B0702040204020203" pitchFamily="34" charset="0"/>
              </a:rPr>
              <a:t>@jennylayfluffy </a:t>
            </a:r>
            <a:endParaRPr lang="en-US" sz="2800" dirty="0">
              <a:solidFill>
                <a:schemeClr val="bg1">
                  <a:lumMod val="95000"/>
                </a:schemeClr>
              </a:solidFill>
              <a:latin typeface="Segoe UI Semibold" panose="020B0702040204020203" pitchFamily="34" charset="0"/>
              <a:cs typeface="Segoe UI Semibold" panose="020B0702040204020203" pitchFamily="34" charset="0"/>
            </a:endParaRPr>
          </a:p>
          <a:p>
            <a:pPr fontAlgn="ctr"/>
            <a:endParaRPr lang="en-US" sz="2800" dirty="0">
              <a:solidFill>
                <a:srgbClr val="00B0F0"/>
              </a:solidFill>
              <a:latin typeface="Segoe UI Semibold" panose="020B0702040204020203" pitchFamily="34" charset="0"/>
              <a:cs typeface="Segoe UI Semibold" panose="020B0702040204020203" pitchFamily="34" charset="0"/>
            </a:endParaRPr>
          </a:p>
          <a:p>
            <a:pPr fontAlgn="ctr"/>
            <a:r>
              <a:rPr lang="en-US" sz="2800" dirty="0">
                <a:solidFill>
                  <a:srgbClr val="00B0F0"/>
                </a:solidFill>
                <a:latin typeface="Segoe UI Semibold" panose="020B0702040204020203" pitchFamily="34" charset="0"/>
                <a:cs typeface="Segoe UI Semibold" panose="020B0702040204020203" pitchFamily="34" charset="0"/>
              </a:rPr>
              <a:t>Disability Answer Desk</a:t>
            </a:r>
            <a:endParaRPr lang="en-US" sz="2400" dirty="0">
              <a:solidFill>
                <a:srgbClr val="00B0F0"/>
              </a:solidFill>
              <a:cs typeface="Segoe UI Semibold" panose="020B0702040204020203" pitchFamily="34" charset="0"/>
            </a:endParaRPr>
          </a:p>
          <a:p>
            <a:pPr fontAlgn="ctr"/>
            <a:r>
              <a:rPr lang="en-US" sz="2400" dirty="0">
                <a:solidFill>
                  <a:schemeClr val="bg1"/>
                </a:solidFill>
                <a:cs typeface="Segoe UI Semibold" panose="020B0702040204020203" pitchFamily="34" charset="0"/>
              </a:rPr>
              <a:t>aka.ms/</a:t>
            </a:r>
            <a:r>
              <a:rPr lang="en-US" sz="2400" dirty="0" err="1">
                <a:solidFill>
                  <a:schemeClr val="bg1"/>
                </a:solidFill>
                <a:cs typeface="Segoe UI Semibold" panose="020B0702040204020203" pitchFamily="34" charset="0"/>
              </a:rPr>
              <a:t>DisabilityAnswerDesk</a:t>
            </a:r>
            <a:endParaRPr lang="en-US" sz="2400" dirty="0">
              <a:solidFill>
                <a:schemeClr val="bg1"/>
              </a:solidFill>
              <a:cs typeface="Segoe UI Semibold" panose="020B0702040204020203" pitchFamily="34" charset="0"/>
            </a:endParaRPr>
          </a:p>
          <a:p>
            <a:pPr fontAlgn="ctr"/>
            <a:endParaRPr lang="en-US" sz="2800" b="1" dirty="0">
              <a:solidFill>
                <a:schemeClr val="bg1"/>
              </a:solidFill>
              <a:latin typeface="Segoe UI Semibold" panose="020B0702040204020203" pitchFamily="34" charset="0"/>
              <a:ea typeface="Calibri" panose="020F0502020204030204" pitchFamily="34" charset="0"/>
              <a:cs typeface="Segoe UI Semibold" panose="020B0702040204020203" pitchFamily="34" charset="0"/>
            </a:endParaRPr>
          </a:p>
          <a:p>
            <a:pPr fontAlgn="ctr"/>
            <a:r>
              <a:rPr lang="en-US" sz="2800" b="1" dirty="0">
                <a:solidFill>
                  <a:srgbClr val="00B0F0"/>
                </a:solidFill>
                <a:latin typeface="Segoe UI Semibold" panose="020B0702040204020203" pitchFamily="34" charset="0"/>
                <a:ea typeface="Calibri" panose="020F0502020204030204" pitchFamily="34" charset="0"/>
                <a:cs typeface="Segoe UI Semibold" panose="020B0702040204020203" pitchFamily="34" charset="0"/>
              </a:rPr>
              <a:t>Enterprise Disability Answer Desk</a:t>
            </a:r>
          </a:p>
          <a:p>
            <a:pPr fontAlgn="ctr"/>
            <a:r>
              <a:rPr lang="en-US" sz="2400" dirty="0">
                <a:solidFill>
                  <a:schemeClr val="bg1"/>
                </a:solidFill>
                <a:cs typeface="Segoe UI Semibold" panose="020B0702040204020203" pitchFamily="34" charset="0"/>
              </a:rPr>
              <a:t>aka.ms/</a:t>
            </a:r>
            <a:r>
              <a:rPr lang="en-US" sz="2400" dirty="0" err="1">
                <a:solidFill>
                  <a:schemeClr val="bg1"/>
                </a:solidFill>
                <a:cs typeface="Segoe UI Semibold" panose="020B0702040204020203" pitchFamily="34" charset="0"/>
              </a:rPr>
              <a:t>EnterpriseDisabilityAnswerDesk</a:t>
            </a:r>
            <a:endParaRPr lang="en-US" sz="2400" dirty="0">
              <a:solidFill>
                <a:schemeClr val="bg1"/>
              </a:solidFill>
              <a:cs typeface="Segoe UI Semibold" panose="020B0702040204020203" pitchFamily="34" charset="0"/>
            </a:endParaRPr>
          </a:p>
        </p:txBody>
      </p:sp>
      <p:sp>
        <p:nvSpPr>
          <p:cNvPr id="6" name="TextBox 5">
            <a:extLst>
              <a:ext uri="{FF2B5EF4-FFF2-40B4-BE49-F238E27FC236}">
                <a16:creationId xmlns:a16="http://schemas.microsoft.com/office/drawing/2014/main" id="{5AEE59A5-573F-4AB5-892F-44393F53D454}"/>
              </a:ext>
            </a:extLst>
          </p:cNvPr>
          <p:cNvSpPr txBox="1"/>
          <p:nvPr/>
        </p:nvSpPr>
        <p:spPr>
          <a:xfrm>
            <a:off x="341809" y="5705883"/>
            <a:ext cx="5636623" cy="861774"/>
          </a:xfrm>
          <a:prstGeom prst="rect">
            <a:avLst/>
          </a:prstGeom>
          <a:noFill/>
        </p:spPr>
        <p:txBody>
          <a:bodyPr wrap="square" lIns="0" tIns="0" rIns="0" bIns="0" rtlCol="0">
            <a:spAutoFit/>
          </a:bodyPr>
          <a:lstStyle/>
          <a:p>
            <a:pPr algn="l"/>
            <a:r>
              <a:rPr lang="en-US" sz="3200" dirty="0">
                <a:solidFill>
                  <a:srgbClr val="00B0F0"/>
                </a:solidFill>
                <a:latin typeface="+mj-lt"/>
                <a:cs typeface="Segoe UI"/>
              </a:rPr>
              <a:t>Learn More:</a:t>
            </a:r>
          </a:p>
          <a:p>
            <a:pPr algn="l"/>
            <a:r>
              <a:rPr lang="en-US" sz="2400" dirty="0">
                <a:solidFill>
                  <a:schemeClr val="bg1"/>
                </a:solidFill>
                <a:cs typeface="Segoe UI"/>
              </a:rPr>
              <a:t>Microsoft.com/Accessibility</a:t>
            </a:r>
            <a:endParaRPr lang="en-US" sz="2400" dirty="0">
              <a:solidFill>
                <a:schemeClr val="bg1"/>
              </a:solidFill>
            </a:endParaRPr>
          </a:p>
        </p:txBody>
      </p:sp>
      <p:pic>
        <p:nvPicPr>
          <p:cNvPr id="4" name="Picture 3" descr="A hand drawing a lightbulb to suggest an idea">
            <a:extLst>
              <a:ext uri="{FF2B5EF4-FFF2-40B4-BE49-F238E27FC236}">
                <a16:creationId xmlns:a16="http://schemas.microsoft.com/office/drawing/2014/main" id="{94C73FA5-0AA7-44FA-9283-C7B0E752A57C}"/>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7217229" y="0"/>
            <a:ext cx="4974770" cy="6858000"/>
          </a:xfrm>
          <a:prstGeom prst="rect">
            <a:avLst/>
          </a:prstGeom>
        </p:spPr>
      </p:pic>
    </p:spTree>
    <p:extLst>
      <p:ext uri="{BB962C8B-B14F-4D97-AF65-F5344CB8AC3E}">
        <p14:creationId xmlns:p14="http://schemas.microsoft.com/office/powerpoint/2010/main" val="230992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63D72-34A8-4D1A-BDD5-B8E4F4026148}"/>
              </a:ext>
            </a:extLst>
          </p:cNvPr>
          <p:cNvSpPr>
            <a:spLocks noGrp="1"/>
          </p:cNvSpPr>
          <p:nvPr>
            <p:ph type="title" idx="4294967295"/>
          </p:nvPr>
        </p:nvSpPr>
        <p:spPr>
          <a:xfrm>
            <a:off x="586740" y="2126974"/>
            <a:ext cx="11018520" cy="553998"/>
          </a:xfrm>
        </p:spPr>
        <p:txBody>
          <a:bodyPr/>
          <a:lstStyle/>
          <a:p>
            <a:r>
              <a:rPr lang="en-US">
                <a:solidFill>
                  <a:srgbClr val="243A5E"/>
                </a:solidFill>
              </a:rPr>
              <a:t>End Card</a:t>
            </a:r>
          </a:p>
        </p:txBody>
      </p:sp>
    </p:spTree>
    <p:extLst>
      <p:ext uri="{BB962C8B-B14F-4D97-AF65-F5344CB8AC3E}">
        <p14:creationId xmlns:p14="http://schemas.microsoft.com/office/powerpoint/2010/main" val="315435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7F0E1-6577-4B29-8EB5-73FAD092E68C}"/>
              </a:ext>
            </a:extLst>
          </p:cNvPr>
          <p:cNvSpPr>
            <a:spLocks noGrp="1"/>
          </p:cNvSpPr>
          <p:nvPr>
            <p:ph type="title"/>
          </p:nvPr>
        </p:nvSpPr>
        <p:spPr>
          <a:xfrm>
            <a:off x="407829" y="469466"/>
            <a:ext cx="11018520" cy="553998"/>
          </a:xfrm>
        </p:spPr>
        <p:txBody>
          <a:bodyPr/>
          <a:lstStyle/>
          <a:p>
            <a:r>
              <a:rPr lang="en-US"/>
              <a:t>Our journey at Microsoft</a:t>
            </a:r>
          </a:p>
        </p:txBody>
      </p:sp>
      <p:grpSp>
        <p:nvGrpSpPr>
          <p:cNvPr id="9" name="Group 8" descr="Windows 95 logo">
            <a:extLst>
              <a:ext uri="{FF2B5EF4-FFF2-40B4-BE49-F238E27FC236}">
                <a16:creationId xmlns:a16="http://schemas.microsoft.com/office/drawing/2014/main" id="{DB91771E-8E32-4AF5-9592-C2BA2E64BA9C}"/>
              </a:ext>
            </a:extLst>
          </p:cNvPr>
          <p:cNvGrpSpPr/>
          <p:nvPr/>
        </p:nvGrpSpPr>
        <p:grpSpPr>
          <a:xfrm>
            <a:off x="362361" y="1433261"/>
            <a:ext cx="2331453" cy="1280160"/>
            <a:chOff x="362361" y="1433261"/>
            <a:chExt cx="2331453" cy="1280160"/>
          </a:xfrm>
        </p:grpSpPr>
        <p:sp>
          <p:nvSpPr>
            <p:cNvPr id="5" name="Rectangle 4">
              <a:extLst>
                <a:ext uri="{FF2B5EF4-FFF2-40B4-BE49-F238E27FC236}">
                  <a16:creationId xmlns:a16="http://schemas.microsoft.com/office/drawing/2014/main" id="{E0BF5BF4-C964-41DC-9B52-52BC72C69CD8}"/>
                </a:ext>
              </a:extLst>
            </p:cNvPr>
            <p:cNvSpPr/>
            <p:nvPr/>
          </p:nvSpPr>
          <p:spPr bwMode="auto">
            <a:xfrm>
              <a:off x="362361" y="1433261"/>
              <a:ext cx="2331453" cy="128016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pic>
          <p:nvPicPr>
            <p:cNvPr id="8" name="Picture 7" descr="A close up of a logo&#10;&#10;Description automatically generated">
              <a:extLst>
                <a:ext uri="{FF2B5EF4-FFF2-40B4-BE49-F238E27FC236}">
                  <a16:creationId xmlns:a16="http://schemas.microsoft.com/office/drawing/2014/main" id="{50285AD0-7AA0-427E-8AFD-888793102CC3}"/>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92888" y="1450067"/>
              <a:ext cx="1603745" cy="1255624"/>
            </a:xfrm>
            <a:prstGeom prst="rect">
              <a:avLst/>
            </a:prstGeom>
          </p:spPr>
        </p:pic>
      </p:grpSp>
      <p:pic>
        <p:nvPicPr>
          <p:cNvPr id="48" name="Picture 47">
            <a:extLst>
              <a:ext uri="{FF2B5EF4-FFF2-40B4-BE49-F238E27FC236}">
                <a16:creationId xmlns:a16="http://schemas.microsoft.com/office/drawing/2014/main" id="{5F7E6116-9179-4282-B0A9-4D71FC2F41EE}"/>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2679075"/>
            <a:ext cx="12192000" cy="2380632"/>
          </a:xfrm>
          <a:prstGeom prst="rect">
            <a:avLst/>
          </a:prstGeom>
        </p:spPr>
      </p:pic>
      <p:pic>
        <p:nvPicPr>
          <p:cNvPr id="57" name="Picture 56" descr="Screen reading software for the blind or visually impaired">
            <a:extLst>
              <a:ext uri="{FF2B5EF4-FFF2-40B4-BE49-F238E27FC236}">
                <a16:creationId xmlns:a16="http://schemas.microsoft.com/office/drawing/2014/main" id="{3C073608-6101-4FEB-AE80-70D5A303D2F1}"/>
              </a:ext>
            </a:extLst>
          </p:cNvPr>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4002396" y="1395680"/>
            <a:ext cx="2331453" cy="1284904"/>
          </a:xfrm>
          <a:prstGeom prst="rect">
            <a:avLst/>
          </a:prstGeom>
          <a:ln w="12700">
            <a:solidFill>
              <a:srgbClr val="FFFFFF">
                <a:lumMod val="75000"/>
              </a:srgbClr>
            </a:solidFill>
          </a:ln>
          <a:extLst>
            <a:ext uri="{909E8E84-426E-40DD-AFC4-6F175D3DCCD1}">
              <a14:hiddenFill xmlns:a14="http://schemas.microsoft.com/office/drawing/2010/main">
                <a:solidFill>
                  <a:srgbClr val="FFFFFF"/>
                </a:solidFill>
              </a14:hiddenFill>
            </a:ext>
          </a:extLst>
        </p:spPr>
      </p:pic>
      <p:pic>
        <p:nvPicPr>
          <p:cNvPr id="63" name="Picture 62" descr="Screenshot of the Microsoft Mission presentation">
            <a:extLst>
              <a:ext uri="{FF2B5EF4-FFF2-40B4-BE49-F238E27FC236}">
                <a16:creationId xmlns:a16="http://schemas.microsoft.com/office/drawing/2014/main" id="{1A0523C3-6195-4FB1-AB72-7434DB35A2E9}"/>
              </a:ext>
            </a:extLst>
          </p:cNvPr>
          <p:cNvPicPr>
            <a:picLocks noChangeAspect="1"/>
          </p:cNvPicPr>
          <p:nvPr/>
        </p:nvPicPr>
        <p:blipFill>
          <a:blip r:embed="rId5"/>
          <a:stretch>
            <a:fillRect/>
          </a:stretch>
        </p:blipFill>
        <p:spPr>
          <a:xfrm>
            <a:off x="7719080" y="1395680"/>
            <a:ext cx="2330508" cy="1299707"/>
          </a:xfrm>
          <a:prstGeom prst="rect">
            <a:avLst/>
          </a:prstGeom>
          <a:ln w="12700">
            <a:solidFill>
              <a:srgbClr val="FFFFFF">
                <a:lumMod val="75000"/>
              </a:srgbClr>
            </a:solidFill>
          </a:ln>
        </p:spPr>
      </p:pic>
      <p:sp>
        <p:nvSpPr>
          <p:cNvPr id="51" name="Oval 50">
            <a:extLst>
              <a:ext uri="{FF2B5EF4-FFF2-40B4-BE49-F238E27FC236}">
                <a16:creationId xmlns:a16="http://schemas.microsoft.com/office/drawing/2014/main" id="{8ACCE7C0-4007-4E21-8B25-E303A954FF1D}"/>
              </a:ext>
              <a:ext uri="{C183D7F6-B498-43B3-948B-1728B52AA6E4}">
                <adec:decorative xmlns:adec="http://schemas.microsoft.com/office/drawing/2017/decorative" val="1"/>
              </a:ext>
            </a:extLst>
          </p:cNvPr>
          <p:cNvSpPr/>
          <p:nvPr/>
        </p:nvSpPr>
        <p:spPr bwMode="auto">
          <a:xfrm>
            <a:off x="927103" y="3331279"/>
            <a:ext cx="1059011" cy="1059008"/>
          </a:xfrm>
          <a:prstGeom prst="ellipse">
            <a:avLst/>
          </a:prstGeom>
          <a:solidFill>
            <a:srgbClr val="FFFFFF">
              <a:lumMod val="95000"/>
            </a:srgbClr>
          </a:solidFill>
          <a:ln w="9525" cap="flat" cmpd="sng" algn="ctr">
            <a:noFill/>
            <a:prstDash val="solid"/>
            <a:headEnd type="none" w="med" len="med"/>
            <a:tailEnd type="none" w="med" len="med"/>
          </a:ln>
          <a:effectLst>
            <a:outerShdw blurRad="50800" dist="25400" dir="2700000" algn="tl" rotWithShape="0">
              <a:prstClr val="black">
                <a:alpha val="10000"/>
              </a:prst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243A5E"/>
                </a:solidFill>
                <a:effectLst/>
                <a:uLnTx/>
                <a:uFillTx/>
                <a:latin typeface="Segoe UI Semibold"/>
                <a:ea typeface="Segoe UI" pitchFamily="34" charset="0"/>
                <a:cs typeface="Segoe UI" pitchFamily="34" charset="0"/>
              </a:rPr>
              <a:t>1990s</a:t>
            </a:r>
          </a:p>
        </p:txBody>
      </p:sp>
      <p:sp>
        <p:nvSpPr>
          <p:cNvPr id="52" name="TextBox 51">
            <a:extLst>
              <a:ext uri="{FF2B5EF4-FFF2-40B4-BE49-F238E27FC236}">
                <a16:creationId xmlns:a16="http://schemas.microsoft.com/office/drawing/2014/main" id="{51A1C649-79FD-4FDA-981F-3AE2F7867465}"/>
              </a:ext>
            </a:extLst>
          </p:cNvPr>
          <p:cNvSpPr txBox="1"/>
          <p:nvPr/>
        </p:nvSpPr>
        <p:spPr>
          <a:xfrm>
            <a:off x="2674191" y="2978526"/>
            <a:ext cx="1276350" cy="276999"/>
          </a:xfrm>
          <a:prstGeom prst="rect">
            <a:avLst/>
          </a:prstGeom>
          <a:noFill/>
        </p:spPr>
        <p:txBody>
          <a:bodyPr wrap="square" lIns="0" tIns="0" rIns="0" bIns="0" anchor="ctr">
            <a:spAutoFit/>
          </a:bodyPr>
          <a:lstStyle/>
          <a:p>
            <a:pPr algn="ctr" defTabSz="914400"/>
            <a:r>
              <a:rPr lang="en-US" sz="1800">
                <a:latin typeface="Segoe UI Semibold"/>
                <a:cs typeface="Sabon Next LT" panose="020B0502040204020203" pitchFamily="2" charset="0"/>
              </a:rPr>
              <a:t>Sticky keys</a:t>
            </a:r>
          </a:p>
        </p:txBody>
      </p:sp>
      <p:sp>
        <p:nvSpPr>
          <p:cNvPr id="53" name="Oval 52">
            <a:extLst>
              <a:ext uri="{FF2B5EF4-FFF2-40B4-BE49-F238E27FC236}">
                <a16:creationId xmlns:a16="http://schemas.microsoft.com/office/drawing/2014/main" id="{2A3A859E-BC14-4457-9996-A82077A4B312}"/>
              </a:ext>
              <a:ext uri="{C183D7F6-B498-43B3-948B-1728B52AA6E4}">
                <adec:decorative xmlns:adec="http://schemas.microsoft.com/office/drawing/2017/decorative" val="1"/>
              </a:ext>
            </a:extLst>
          </p:cNvPr>
          <p:cNvSpPr/>
          <p:nvPr/>
        </p:nvSpPr>
        <p:spPr bwMode="auto">
          <a:xfrm rot="10800000" flipV="1">
            <a:off x="2782860" y="3331276"/>
            <a:ext cx="1059012" cy="1059011"/>
          </a:xfrm>
          <a:prstGeom prst="ellipse">
            <a:avLst/>
          </a:prstGeom>
          <a:solidFill>
            <a:srgbClr val="FFFFFF">
              <a:lumMod val="95000"/>
            </a:srgbClr>
          </a:solidFill>
          <a:ln w="9525" cap="flat" cmpd="sng" algn="ctr">
            <a:noFill/>
            <a:prstDash val="solid"/>
            <a:headEnd type="none" w="med" len="med"/>
            <a:tailEnd type="none" w="med" len="med"/>
          </a:ln>
          <a:effectLst>
            <a:outerShdw blurRad="50800" dist="25400" dir="2700000" algn="tl" rotWithShape="0">
              <a:prstClr val="black">
                <a:alpha val="10000"/>
              </a:prst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243A5E"/>
                </a:solidFill>
                <a:effectLst/>
                <a:uLnTx/>
                <a:uFillTx/>
                <a:latin typeface="Segoe UI Semibold"/>
                <a:ea typeface="+mn-ea"/>
                <a:cs typeface="Segoe UI" pitchFamily="34" charset="0"/>
              </a:rPr>
              <a:t>1994</a:t>
            </a:r>
          </a:p>
        </p:txBody>
      </p:sp>
      <p:pic>
        <p:nvPicPr>
          <p:cNvPr id="54" name="Picture 53" descr="Sticky keys screenshot from to turn on and off in Windows 10">
            <a:extLst>
              <a:ext uri="{FF2B5EF4-FFF2-40B4-BE49-F238E27FC236}">
                <a16:creationId xmlns:a16="http://schemas.microsoft.com/office/drawing/2014/main" id="{DD640715-0C7D-4D9D-906D-9494ABD5F541}"/>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818" t="1256" r="818" b="818"/>
          <a:stretch/>
        </p:blipFill>
        <p:spPr bwMode="auto">
          <a:xfrm>
            <a:off x="2146638" y="5059464"/>
            <a:ext cx="2331453" cy="1305600"/>
          </a:xfrm>
          <a:prstGeom prst="rect">
            <a:avLst/>
          </a:prstGeom>
          <a:ln w="12700">
            <a:solidFill>
              <a:srgbClr val="FFFFFF">
                <a:lumMod val="75000"/>
              </a:srgbClr>
            </a:solidFill>
          </a:ln>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16CEA2AE-75DF-480B-85CB-40D7D60B8992}"/>
              </a:ext>
            </a:extLst>
          </p:cNvPr>
          <p:cNvSpPr txBox="1"/>
          <p:nvPr/>
        </p:nvSpPr>
        <p:spPr>
          <a:xfrm>
            <a:off x="4112911" y="4474058"/>
            <a:ext cx="2110422" cy="276999"/>
          </a:xfrm>
          <a:prstGeom prst="rect">
            <a:avLst/>
          </a:prstGeom>
          <a:noFill/>
        </p:spPr>
        <p:txBody>
          <a:bodyPr wrap="square" lIns="0" tIns="0" rIns="0" bIns="0" anchor="ctr">
            <a:spAutoFit/>
          </a:bodyPr>
          <a:lstStyle/>
          <a:p>
            <a:pPr algn="ctr" defTabSz="914400"/>
            <a:r>
              <a:rPr lang="en-US" sz="1800">
                <a:latin typeface="Segoe UI Semibold"/>
                <a:cs typeface="Sabon Next LT" panose="020B0502040204020203" pitchFamily="2" charset="0"/>
              </a:rPr>
              <a:t>Screen reader</a:t>
            </a:r>
          </a:p>
        </p:txBody>
      </p:sp>
      <p:sp>
        <p:nvSpPr>
          <p:cNvPr id="56" name="Oval 55">
            <a:extLst>
              <a:ext uri="{FF2B5EF4-FFF2-40B4-BE49-F238E27FC236}">
                <a16:creationId xmlns:a16="http://schemas.microsoft.com/office/drawing/2014/main" id="{19EE7CBF-099A-4679-91F6-D4B0B3DAA6B2}"/>
              </a:ext>
              <a:ext uri="{C183D7F6-B498-43B3-948B-1728B52AA6E4}">
                <adec:decorative xmlns:adec="http://schemas.microsoft.com/office/drawing/2017/decorative" val="1"/>
              </a:ext>
            </a:extLst>
          </p:cNvPr>
          <p:cNvSpPr/>
          <p:nvPr/>
        </p:nvSpPr>
        <p:spPr bwMode="auto">
          <a:xfrm>
            <a:off x="4638617" y="3331279"/>
            <a:ext cx="1059011" cy="1059008"/>
          </a:xfrm>
          <a:prstGeom prst="ellipse">
            <a:avLst/>
          </a:prstGeom>
          <a:solidFill>
            <a:srgbClr val="FFFFFF">
              <a:lumMod val="95000"/>
            </a:srgbClr>
          </a:solidFill>
          <a:ln w="9525" cap="flat" cmpd="sng" algn="ctr">
            <a:noFill/>
            <a:prstDash val="solid"/>
            <a:headEnd type="none" w="med" len="med"/>
            <a:tailEnd type="none" w="med" len="med"/>
          </a:ln>
          <a:effectLst>
            <a:outerShdw blurRad="50800" dist="25400" dir="2700000" algn="tl" rotWithShape="0">
              <a:prstClr val="black">
                <a:alpha val="10000"/>
              </a:prst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243A5E"/>
                </a:solidFill>
                <a:effectLst/>
                <a:uLnTx/>
                <a:uFillTx/>
                <a:latin typeface="Segoe UI Semibold"/>
                <a:ea typeface="+mn-ea"/>
                <a:cs typeface="Segoe UI" pitchFamily="34" charset="0"/>
              </a:rPr>
              <a:t>2000</a:t>
            </a:r>
          </a:p>
        </p:txBody>
      </p:sp>
      <p:sp>
        <p:nvSpPr>
          <p:cNvPr id="58" name="TextBox 57">
            <a:extLst>
              <a:ext uri="{FF2B5EF4-FFF2-40B4-BE49-F238E27FC236}">
                <a16:creationId xmlns:a16="http://schemas.microsoft.com/office/drawing/2014/main" id="{140617B5-20B4-49A0-8A70-32944F3B1C2A}"/>
              </a:ext>
            </a:extLst>
          </p:cNvPr>
          <p:cNvSpPr txBox="1"/>
          <p:nvPr/>
        </p:nvSpPr>
        <p:spPr>
          <a:xfrm>
            <a:off x="6023492" y="2702040"/>
            <a:ext cx="1990208" cy="553998"/>
          </a:xfrm>
          <a:prstGeom prst="rect">
            <a:avLst/>
          </a:prstGeom>
          <a:noFill/>
        </p:spPr>
        <p:txBody>
          <a:bodyPr wrap="square" lIns="0" tIns="0" rIns="0" bIns="0" anchor="ctr">
            <a:spAutoFit/>
          </a:bodyPr>
          <a:lstStyle/>
          <a:p>
            <a:pPr algn="ctr" defTabSz="914400"/>
            <a:r>
              <a:rPr lang="en-US" sz="1800">
                <a:latin typeface="Segoe UI Semibold"/>
                <a:cs typeface="Sabon Next LT" panose="020B0502040204020203" pitchFamily="2" charset="0"/>
              </a:rPr>
              <a:t>Disability</a:t>
            </a:r>
            <a:br>
              <a:rPr lang="en-US" sz="1800">
                <a:latin typeface="Segoe UI Semibold"/>
                <a:cs typeface="Sabon Next LT" panose="020B0502040204020203" pitchFamily="2" charset="0"/>
              </a:rPr>
            </a:br>
            <a:r>
              <a:rPr lang="en-US" sz="1800">
                <a:latin typeface="Segoe UI Semibold"/>
                <a:cs typeface="Sabon Next LT" panose="020B0502040204020203" pitchFamily="2" charset="0"/>
              </a:rPr>
              <a:t>Answer Desk</a:t>
            </a:r>
          </a:p>
        </p:txBody>
      </p:sp>
      <p:sp>
        <p:nvSpPr>
          <p:cNvPr id="59" name="Oval 58">
            <a:extLst>
              <a:ext uri="{FF2B5EF4-FFF2-40B4-BE49-F238E27FC236}">
                <a16:creationId xmlns:a16="http://schemas.microsoft.com/office/drawing/2014/main" id="{EBA7EC4E-11D4-4E5E-B378-85FED1A81D5C}"/>
              </a:ext>
              <a:ext uri="{C183D7F6-B498-43B3-948B-1728B52AA6E4}">
                <adec:decorative xmlns:adec="http://schemas.microsoft.com/office/drawing/2017/decorative" val="1"/>
              </a:ext>
            </a:extLst>
          </p:cNvPr>
          <p:cNvSpPr/>
          <p:nvPr/>
        </p:nvSpPr>
        <p:spPr bwMode="auto">
          <a:xfrm rot="10800000" flipV="1">
            <a:off x="6494374" y="3331276"/>
            <a:ext cx="1059012" cy="1059011"/>
          </a:xfrm>
          <a:prstGeom prst="ellipse">
            <a:avLst/>
          </a:prstGeom>
          <a:solidFill>
            <a:srgbClr val="FFFFFF">
              <a:lumMod val="95000"/>
            </a:srgbClr>
          </a:solidFill>
          <a:ln w="9525" cap="flat" cmpd="sng" algn="ctr">
            <a:noFill/>
            <a:prstDash val="solid"/>
            <a:headEnd type="none" w="med" len="med"/>
            <a:tailEnd type="none" w="med" len="med"/>
          </a:ln>
          <a:effectLst>
            <a:outerShdw blurRad="50800" dist="25400" dir="2700000" algn="tl" rotWithShape="0">
              <a:prstClr val="black">
                <a:alpha val="10000"/>
              </a:prst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243A5E"/>
                </a:solidFill>
                <a:effectLst/>
                <a:uLnTx/>
                <a:uFillTx/>
                <a:latin typeface="Segoe UI Semibold"/>
                <a:ea typeface="+mn-ea"/>
                <a:cs typeface="Segoe UI" pitchFamily="34" charset="0"/>
              </a:rPr>
              <a:t>2012</a:t>
            </a:r>
          </a:p>
        </p:txBody>
      </p:sp>
      <p:sp>
        <p:nvSpPr>
          <p:cNvPr id="50" name="TextBox 49">
            <a:extLst>
              <a:ext uri="{FF2B5EF4-FFF2-40B4-BE49-F238E27FC236}">
                <a16:creationId xmlns:a16="http://schemas.microsoft.com/office/drawing/2014/main" id="{E4D17CDB-93EA-4228-A6B7-5BA8A37F64DD}"/>
              </a:ext>
            </a:extLst>
          </p:cNvPr>
          <p:cNvSpPr txBox="1"/>
          <p:nvPr/>
        </p:nvSpPr>
        <p:spPr>
          <a:xfrm>
            <a:off x="407829" y="4489446"/>
            <a:ext cx="2110422" cy="553998"/>
          </a:xfrm>
          <a:prstGeom prst="rect">
            <a:avLst/>
          </a:prstGeom>
          <a:noFill/>
        </p:spPr>
        <p:txBody>
          <a:bodyPr wrap="square" lIns="0" tIns="0" rIns="0" bIns="0" anchor="ctr">
            <a:spAutoFit/>
          </a:bodyPr>
          <a:lstStyle/>
          <a:p>
            <a:pPr algn="ctr" defTabSz="914400"/>
            <a:r>
              <a:rPr lang="en-US" sz="1800">
                <a:latin typeface="Segoe UI Semibold"/>
                <a:cs typeface="Sabon Next LT" panose="020B0502040204020203" pitchFamily="2" charset="0"/>
              </a:rPr>
              <a:t>Employee disability groups</a:t>
            </a:r>
          </a:p>
        </p:txBody>
      </p:sp>
      <p:pic>
        <p:nvPicPr>
          <p:cNvPr id="60" name="Picture 59" descr="Screenshot from Get support from Microsoft for accessibility questions via the Microsoft Disability Answer Desk">
            <a:extLst>
              <a:ext uri="{FF2B5EF4-FFF2-40B4-BE49-F238E27FC236}">
                <a16:creationId xmlns:a16="http://schemas.microsoft.com/office/drawing/2014/main" id="{9128A17C-2D8C-4A91-A485-ADB70F8180D0}"/>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852870" y="5059464"/>
            <a:ext cx="2331444" cy="1324854"/>
          </a:xfrm>
          <a:prstGeom prst="rect">
            <a:avLst/>
          </a:prstGeom>
          <a:ln w="12700">
            <a:solidFill>
              <a:srgbClr val="FFFFFF">
                <a:lumMod val="75000"/>
              </a:srgbClr>
            </a:solidFill>
          </a:ln>
          <a:extLst>
            <a:ext uri="{909E8E84-426E-40DD-AFC4-6F175D3DCCD1}">
              <a14:hiddenFill xmlns:a14="http://schemas.microsoft.com/office/drawing/2010/main">
                <a:solidFill>
                  <a:srgbClr val="FFFFFF"/>
                </a:solidFill>
              </a14:hiddenFill>
            </a:ext>
          </a:extLst>
        </p:spPr>
      </p:pic>
      <p:sp>
        <p:nvSpPr>
          <p:cNvPr id="61" name="TextBox 60">
            <a:extLst>
              <a:ext uri="{FF2B5EF4-FFF2-40B4-BE49-F238E27FC236}">
                <a16:creationId xmlns:a16="http://schemas.microsoft.com/office/drawing/2014/main" id="{E9DA807C-ACEB-449C-BC45-CD1E8B092EE7}"/>
              </a:ext>
            </a:extLst>
          </p:cNvPr>
          <p:cNvSpPr txBox="1"/>
          <p:nvPr/>
        </p:nvSpPr>
        <p:spPr>
          <a:xfrm>
            <a:off x="7827335" y="4489446"/>
            <a:ext cx="2110422" cy="553998"/>
          </a:xfrm>
          <a:prstGeom prst="rect">
            <a:avLst/>
          </a:prstGeom>
          <a:noFill/>
        </p:spPr>
        <p:txBody>
          <a:bodyPr wrap="square" lIns="0" tIns="0" rIns="0" bIns="0" anchor="ctr">
            <a:spAutoFit/>
          </a:bodyPr>
          <a:lstStyle/>
          <a:p>
            <a:pPr algn="ctr" defTabSz="914400"/>
            <a:r>
              <a:rPr lang="en-US" sz="1800">
                <a:latin typeface="Segoe UI Semibold"/>
                <a:cs typeface="Sabon Next LT" panose="020B0502040204020203" pitchFamily="2" charset="0"/>
              </a:rPr>
              <a:t>New company mission</a:t>
            </a:r>
          </a:p>
        </p:txBody>
      </p:sp>
      <p:sp>
        <p:nvSpPr>
          <p:cNvPr id="62" name="Oval 61">
            <a:extLst>
              <a:ext uri="{FF2B5EF4-FFF2-40B4-BE49-F238E27FC236}">
                <a16:creationId xmlns:a16="http://schemas.microsoft.com/office/drawing/2014/main" id="{495D259F-2CDE-4C2B-B9D8-C64125B3AE1C}"/>
              </a:ext>
              <a:ext uri="{C183D7F6-B498-43B3-948B-1728B52AA6E4}">
                <adec:decorative xmlns:adec="http://schemas.microsoft.com/office/drawing/2017/decorative" val="1"/>
              </a:ext>
            </a:extLst>
          </p:cNvPr>
          <p:cNvSpPr/>
          <p:nvPr/>
        </p:nvSpPr>
        <p:spPr bwMode="auto">
          <a:xfrm>
            <a:off x="8350131" y="3331279"/>
            <a:ext cx="1059011" cy="1059008"/>
          </a:xfrm>
          <a:prstGeom prst="ellipse">
            <a:avLst/>
          </a:prstGeom>
          <a:solidFill>
            <a:srgbClr val="FFFFFF">
              <a:lumMod val="95000"/>
            </a:srgbClr>
          </a:solidFill>
          <a:ln w="9525" cap="flat" cmpd="sng" algn="ctr">
            <a:noFill/>
            <a:prstDash val="solid"/>
            <a:headEnd type="none" w="med" len="med"/>
            <a:tailEnd type="none" w="med" len="med"/>
          </a:ln>
          <a:effectLst>
            <a:outerShdw blurRad="50800" dist="25400" dir="2700000" algn="tl" rotWithShape="0">
              <a:prstClr val="black">
                <a:alpha val="10000"/>
              </a:prst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243A5E"/>
                </a:solidFill>
                <a:effectLst/>
                <a:uLnTx/>
                <a:uFillTx/>
                <a:latin typeface="Segoe UI Semibold"/>
                <a:ea typeface="+mn-ea"/>
                <a:cs typeface="Segoe UI" pitchFamily="34" charset="0"/>
              </a:rPr>
              <a:t>2015</a:t>
            </a:r>
          </a:p>
        </p:txBody>
      </p:sp>
      <p:sp>
        <p:nvSpPr>
          <p:cNvPr id="64" name="TextBox 63">
            <a:extLst>
              <a:ext uri="{FF2B5EF4-FFF2-40B4-BE49-F238E27FC236}">
                <a16:creationId xmlns:a16="http://schemas.microsoft.com/office/drawing/2014/main" id="{0D656E8B-A00D-4842-A42E-88FE37376977}"/>
              </a:ext>
            </a:extLst>
          </p:cNvPr>
          <p:cNvSpPr txBox="1"/>
          <p:nvPr/>
        </p:nvSpPr>
        <p:spPr>
          <a:xfrm>
            <a:off x="9494592" y="2840539"/>
            <a:ext cx="2479694" cy="276999"/>
          </a:xfrm>
          <a:prstGeom prst="rect">
            <a:avLst/>
          </a:prstGeom>
          <a:noFill/>
        </p:spPr>
        <p:txBody>
          <a:bodyPr wrap="square" lIns="0" tIns="0" rIns="0" bIns="0" anchor="ctr">
            <a:spAutoFit/>
          </a:bodyPr>
          <a:lstStyle/>
          <a:p>
            <a:pPr algn="ctr" defTabSz="914400"/>
            <a:r>
              <a:rPr lang="en-US" sz="1800" dirty="0">
                <a:latin typeface="Segoe UI Semibold"/>
                <a:cs typeface="Sabon Next LT"/>
              </a:rPr>
              <a:t>Accessibility Ecosystem</a:t>
            </a:r>
            <a:endParaRPr lang="en-US" sz="1800" dirty="0">
              <a:latin typeface="Segoe UI Semibold"/>
              <a:cs typeface="Sabon Next LT" panose="020B0502040204020203" pitchFamily="2" charset="0"/>
            </a:endParaRPr>
          </a:p>
        </p:txBody>
      </p:sp>
      <p:sp>
        <p:nvSpPr>
          <p:cNvPr id="65" name="Oval 64">
            <a:extLst>
              <a:ext uri="{FF2B5EF4-FFF2-40B4-BE49-F238E27FC236}">
                <a16:creationId xmlns:a16="http://schemas.microsoft.com/office/drawing/2014/main" id="{2CF161C2-7D40-4801-87EB-09DBB185D873}"/>
              </a:ext>
              <a:ext uri="{C183D7F6-B498-43B3-948B-1728B52AA6E4}">
                <adec:decorative xmlns:adec="http://schemas.microsoft.com/office/drawing/2017/decorative" val="1"/>
              </a:ext>
            </a:extLst>
          </p:cNvPr>
          <p:cNvSpPr/>
          <p:nvPr/>
        </p:nvSpPr>
        <p:spPr bwMode="auto">
          <a:xfrm rot="10800000" flipV="1">
            <a:off x="10205886" y="3331276"/>
            <a:ext cx="1059012" cy="1059011"/>
          </a:xfrm>
          <a:prstGeom prst="ellipse">
            <a:avLst/>
          </a:prstGeom>
          <a:solidFill>
            <a:srgbClr val="FFFFFF">
              <a:lumMod val="95000"/>
            </a:srgbClr>
          </a:solidFill>
          <a:ln w="9525" cap="flat" cmpd="sng" algn="ctr">
            <a:noFill/>
            <a:prstDash val="solid"/>
            <a:headEnd type="none" w="med" len="med"/>
            <a:tailEnd type="none" w="med" len="med"/>
          </a:ln>
          <a:effectLst>
            <a:outerShdw blurRad="50800" dist="25400" dir="2700000" algn="tl" rotWithShape="0">
              <a:prstClr val="black">
                <a:alpha val="10000"/>
              </a:prstClr>
            </a:outerShdw>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2400" b="0" i="0" u="none" strike="noStrike" kern="0" cap="none" spc="0" normalizeH="0" baseline="0" noProof="0">
                <a:ln>
                  <a:noFill/>
                </a:ln>
                <a:solidFill>
                  <a:srgbClr val="243A5E"/>
                </a:solidFill>
                <a:effectLst/>
                <a:uLnTx/>
                <a:uFillTx/>
                <a:latin typeface="Segoe UI Semibold"/>
                <a:ea typeface="+mn-ea"/>
                <a:cs typeface="Segoe UI" pitchFamily="34" charset="0"/>
              </a:rPr>
              <a:t>2016</a:t>
            </a:r>
          </a:p>
        </p:txBody>
      </p:sp>
      <p:pic>
        <p:nvPicPr>
          <p:cNvPr id="66" name="Picture 65" descr="Jenny Lay-Flurrie heads up Microsoft's accessibility innovations">
            <a:extLst>
              <a:ext uri="{FF2B5EF4-FFF2-40B4-BE49-F238E27FC236}">
                <a16:creationId xmlns:a16="http://schemas.microsoft.com/office/drawing/2014/main" id="{FEA70318-62EF-4217-9E7C-3584C35569DA}"/>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9573053" y="5059465"/>
            <a:ext cx="2331444" cy="1335260"/>
          </a:xfrm>
          <a:prstGeom prst="rect">
            <a:avLst/>
          </a:prstGeom>
          <a:ln w="12700">
            <a:solidFill>
              <a:srgbClr val="FFFFFF">
                <a:lumMod val="75000"/>
              </a:srgb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506205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D40B7F-4EE8-4FF6-9E16-5CE3FA2E6C59}"/>
              </a:ext>
              <a:ext uri="{C183D7F6-B498-43B3-948B-1728B52AA6E4}">
                <adec:decorative xmlns:adec="http://schemas.microsoft.com/office/drawing/2017/decorative" val="1"/>
              </a:ext>
            </a:extLst>
          </p:cNvPr>
          <p:cNvSpPr/>
          <p:nvPr/>
        </p:nvSpPr>
        <p:spPr bwMode="auto">
          <a:xfrm>
            <a:off x="-1" y="3264469"/>
            <a:ext cx="12192001" cy="3363507"/>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sp>
        <p:nvSpPr>
          <p:cNvPr id="6" name="Title 5">
            <a:extLst>
              <a:ext uri="{FF2B5EF4-FFF2-40B4-BE49-F238E27FC236}">
                <a16:creationId xmlns:a16="http://schemas.microsoft.com/office/drawing/2014/main" id="{C69FC64F-81DE-42BF-AFC0-E967520E29F8}"/>
              </a:ext>
              <a:ext uri="{C183D7F6-B498-43B3-948B-1728B52AA6E4}">
                <adec:decorative xmlns:adec="http://schemas.microsoft.com/office/drawing/2017/decorative" val="0"/>
              </a:ext>
            </a:extLst>
          </p:cNvPr>
          <p:cNvSpPr>
            <a:spLocks noGrp="1"/>
          </p:cNvSpPr>
          <p:nvPr>
            <p:ph type="title"/>
          </p:nvPr>
        </p:nvSpPr>
        <p:spPr>
          <a:xfrm>
            <a:off x="296151" y="370625"/>
            <a:ext cx="11018520" cy="553998"/>
          </a:xfrm>
        </p:spPr>
        <p:txBody>
          <a:bodyPr/>
          <a:lstStyle/>
          <a:p>
            <a:r>
              <a:rPr lang="en-US" dirty="0"/>
              <a:t>Accessibility is a responsibility </a:t>
            </a:r>
          </a:p>
        </p:txBody>
      </p:sp>
      <p:sp>
        <p:nvSpPr>
          <p:cNvPr id="24" name="Rectangle 23">
            <a:extLst>
              <a:ext uri="{FF2B5EF4-FFF2-40B4-BE49-F238E27FC236}">
                <a16:creationId xmlns:a16="http://schemas.microsoft.com/office/drawing/2014/main" id="{EECF114E-AEB2-483E-A583-9DDDD0CC3173}"/>
              </a:ext>
              <a:ext uri="{C183D7F6-B498-43B3-948B-1728B52AA6E4}">
                <adec:decorative xmlns:adec="http://schemas.microsoft.com/office/drawing/2017/decorative" val="0"/>
              </a:ext>
            </a:extLst>
          </p:cNvPr>
          <p:cNvSpPr>
            <a:spLocks noChangeAspect="1"/>
          </p:cNvSpPr>
          <p:nvPr/>
        </p:nvSpPr>
        <p:spPr>
          <a:xfrm>
            <a:off x="282381" y="1036265"/>
            <a:ext cx="6957033" cy="387798"/>
          </a:xfrm>
          <a:prstGeom prst="rect">
            <a:avLst/>
          </a:prstGeom>
        </p:spPr>
        <p:txBody>
          <a:bodyPr wrap="none" lIns="0" tIns="0" rIns="0" bIns="0" anchor="t">
            <a:spAutoFit/>
          </a:bodyPr>
          <a:lstStyle/>
          <a:p>
            <a:pPr marL="0" marR="0" lvl="0" indent="0" defTabSz="914225" rtl="0" eaLnBrk="1" fontAlgn="auto" latinLnBrk="0" hangingPunct="1">
              <a:lnSpc>
                <a:spcPct val="90000"/>
              </a:lnSpc>
              <a:spcBef>
                <a:spcPts val="0"/>
              </a:spcBef>
              <a:spcAft>
                <a:spcPts val="0"/>
              </a:spcAft>
              <a:buClrTx/>
              <a:buSzTx/>
              <a:buFontTx/>
              <a:buNone/>
              <a:tabLst/>
              <a:defRPr/>
            </a:pPr>
            <a:r>
              <a:rPr kumimoji="0" lang="en-US" sz="2800" i="0" u="none" strike="noStrike" kern="0" cap="none" spc="0" normalizeH="0" baseline="0" noProof="0" dirty="0">
                <a:ln>
                  <a:noFill/>
                </a:ln>
                <a:effectLst/>
                <a:uLnTx/>
                <a:uFillTx/>
                <a:latin typeface="Segoe UI"/>
                <a:ea typeface="+mn-ea"/>
                <a:cs typeface="+mn-cs"/>
              </a:rPr>
              <a:t>1</a:t>
            </a:r>
            <a:r>
              <a:rPr lang="en-US" sz="2800" kern="0" dirty="0">
                <a:latin typeface="Segoe UI"/>
              </a:rPr>
              <a:t>+</a:t>
            </a:r>
            <a:r>
              <a:rPr kumimoji="0" lang="en-US" sz="2800" i="0" u="none" strike="noStrike" kern="0" cap="none" spc="0" normalizeH="0" baseline="0" noProof="0" dirty="0">
                <a:ln>
                  <a:noFill/>
                </a:ln>
                <a:effectLst/>
                <a:uLnTx/>
                <a:uFillTx/>
                <a:latin typeface="Segoe UI"/>
                <a:ea typeface="+mn-ea"/>
                <a:cs typeface="+mn-cs"/>
              </a:rPr>
              <a:t> </a:t>
            </a:r>
            <a:r>
              <a:rPr lang="en-US" sz="2800" kern="0" dirty="0">
                <a:latin typeface="Segoe UI"/>
              </a:rPr>
              <a:t>billion people with disabilities worldwide</a:t>
            </a:r>
            <a:endParaRPr kumimoji="0" lang="en-US" sz="2800" i="0" u="none" strike="noStrike" kern="0" cap="none" spc="0" normalizeH="0" baseline="0" noProof="0" dirty="0">
              <a:ln>
                <a:noFill/>
              </a:ln>
              <a:effectLst/>
              <a:uLnTx/>
              <a:uFillTx/>
              <a:latin typeface="Segoe UI"/>
            </a:endParaRPr>
          </a:p>
        </p:txBody>
      </p:sp>
      <p:sp>
        <p:nvSpPr>
          <p:cNvPr id="40" name="TextBox 39">
            <a:extLst>
              <a:ext uri="{FF2B5EF4-FFF2-40B4-BE49-F238E27FC236}">
                <a16:creationId xmlns:a16="http://schemas.microsoft.com/office/drawing/2014/main" id="{28FD4B59-FD79-4D71-BA39-67747CDC2658}"/>
              </a:ext>
            </a:extLst>
          </p:cNvPr>
          <p:cNvSpPr txBox="1"/>
          <p:nvPr/>
        </p:nvSpPr>
        <p:spPr>
          <a:xfrm>
            <a:off x="820328" y="1940886"/>
            <a:ext cx="3022493" cy="633883"/>
          </a:xfrm>
          <a:prstGeom prst="round2SameRect">
            <a:avLst>
              <a:gd name="adj1" fmla="val 22612"/>
              <a:gd name="adj2" fmla="val 0"/>
            </a:avLst>
          </a:prstGeom>
          <a:solidFill>
            <a:schemeClr val="accent2"/>
          </a:solidFill>
          <a:ln>
            <a:noFill/>
          </a:ln>
        </p:spPr>
        <p:txBody>
          <a:bodyPr wrap="square" lIns="91440" tIns="45720" rIns="91440" bIns="45720" rtlCol="0" anchor="ctr" anchorCtr="0">
            <a:noAutofit/>
          </a:bodyPr>
          <a:lstStyle/>
          <a:p>
            <a:pPr marL="0" marR="0" lvl="0" indent="0" algn="ctr" defTabSz="914225" rtl="0" eaLnBrk="1" fontAlgn="auto" latinLnBrk="0" hangingPunct="1">
              <a:spcBef>
                <a:spcPts val="200"/>
              </a:spcBef>
              <a:spcAft>
                <a:spcPts val="200"/>
              </a:spcAft>
              <a:buClrTx/>
              <a:buSzTx/>
              <a:buFontTx/>
              <a:buNone/>
              <a:tabLst/>
              <a:defRPr/>
            </a:pPr>
            <a:r>
              <a:rPr kumimoji="0" lang="en-US" sz="2200" i="0" u="none" strike="noStrike" kern="0" cap="none" spc="0" normalizeH="0" baseline="0" noProof="0">
                <a:ln>
                  <a:noFill/>
                </a:ln>
                <a:effectLst/>
                <a:uLnTx/>
                <a:uFillTx/>
                <a:latin typeface="+mj-lt"/>
                <a:ea typeface="+mn-ea"/>
                <a:cs typeface="+mn-cs"/>
              </a:rPr>
              <a:t>Permanent</a:t>
            </a:r>
          </a:p>
        </p:txBody>
      </p:sp>
      <p:sp>
        <p:nvSpPr>
          <p:cNvPr id="46" name="TextBox 45">
            <a:extLst>
              <a:ext uri="{FF2B5EF4-FFF2-40B4-BE49-F238E27FC236}">
                <a16:creationId xmlns:a16="http://schemas.microsoft.com/office/drawing/2014/main" id="{F77B7171-0256-4470-908E-A438540AEFC9}"/>
              </a:ext>
            </a:extLst>
          </p:cNvPr>
          <p:cNvSpPr txBox="1"/>
          <p:nvPr/>
        </p:nvSpPr>
        <p:spPr>
          <a:xfrm>
            <a:off x="4584755" y="1940886"/>
            <a:ext cx="3022493" cy="633883"/>
          </a:xfrm>
          <a:prstGeom prst="round2SameRect">
            <a:avLst>
              <a:gd name="adj1" fmla="val 22612"/>
              <a:gd name="adj2" fmla="val 0"/>
            </a:avLst>
          </a:prstGeom>
          <a:solidFill>
            <a:schemeClr val="accent2"/>
          </a:solidFill>
          <a:ln>
            <a:noFill/>
          </a:ln>
        </p:spPr>
        <p:txBody>
          <a:bodyPr wrap="square" lIns="91440" tIns="45720" rIns="91440" bIns="45720" rtlCol="0" anchor="ctr" anchorCtr="0">
            <a:noAutofit/>
          </a:bodyPr>
          <a:lstStyle/>
          <a:p>
            <a:pPr marL="0" marR="0" lvl="0" indent="0" algn="ctr" defTabSz="914225" rtl="0" eaLnBrk="1" fontAlgn="auto" latinLnBrk="0" hangingPunct="1">
              <a:spcBef>
                <a:spcPts val="200"/>
              </a:spcBef>
              <a:spcAft>
                <a:spcPts val="200"/>
              </a:spcAft>
              <a:buClrTx/>
              <a:buSzTx/>
              <a:buFontTx/>
              <a:buNone/>
              <a:tabLst/>
              <a:defRPr/>
            </a:pPr>
            <a:r>
              <a:rPr kumimoji="0" lang="en-US" sz="2200" i="0" u="none" strike="noStrike" kern="0" cap="none" spc="0" normalizeH="0" baseline="0" noProof="0">
                <a:ln>
                  <a:noFill/>
                </a:ln>
                <a:effectLst/>
                <a:uLnTx/>
                <a:uFillTx/>
                <a:latin typeface="+mj-lt"/>
                <a:ea typeface="+mn-ea"/>
                <a:cs typeface="+mn-cs"/>
              </a:rPr>
              <a:t>Temporary</a:t>
            </a:r>
          </a:p>
        </p:txBody>
      </p:sp>
      <p:sp>
        <p:nvSpPr>
          <p:cNvPr id="52" name="TextBox 51">
            <a:extLst>
              <a:ext uri="{FF2B5EF4-FFF2-40B4-BE49-F238E27FC236}">
                <a16:creationId xmlns:a16="http://schemas.microsoft.com/office/drawing/2014/main" id="{8D09A310-E5A5-4027-A7DD-9D9C0148FBA3}"/>
              </a:ext>
            </a:extLst>
          </p:cNvPr>
          <p:cNvSpPr txBox="1"/>
          <p:nvPr/>
        </p:nvSpPr>
        <p:spPr>
          <a:xfrm>
            <a:off x="8349181" y="1940886"/>
            <a:ext cx="3022493" cy="633883"/>
          </a:xfrm>
          <a:prstGeom prst="round2SameRect">
            <a:avLst>
              <a:gd name="adj1" fmla="val 22612"/>
              <a:gd name="adj2" fmla="val 0"/>
            </a:avLst>
          </a:prstGeom>
          <a:solidFill>
            <a:schemeClr val="accent2"/>
          </a:solidFill>
          <a:ln>
            <a:noFill/>
          </a:ln>
        </p:spPr>
        <p:txBody>
          <a:bodyPr wrap="square" lIns="91440" tIns="45720" rIns="91440" bIns="45720" rtlCol="0" anchor="ctr" anchorCtr="0">
            <a:noAutofit/>
          </a:bodyPr>
          <a:lstStyle/>
          <a:p>
            <a:pPr marL="0" marR="0" lvl="0" indent="0" algn="ctr" defTabSz="914225" rtl="0" eaLnBrk="1" fontAlgn="auto" latinLnBrk="0" hangingPunct="1">
              <a:spcBef>
                <a:spcPts val="200"/>
              </a:spcBef>
              <a:spcAft>
                <a:spcPts val="200"/>
              </a:spcAft>
              <a:buClrTx/>
              <a:buSzTx/>
              <a:buFontTx/>
              <a:buNone/>
              <a:tabLst/>
              <a:defRPr/>
            </a:pPr>
            <a:r>
              <a:rPr kumimoji="0" lang="en-US" sz="2200" i="0" u="none" strike="noStrike" kern="0" cap="none" spc="0" normalizeH="0" baseline="0" noProof="0">
                <a:ln>
                  <a:noFill/>
                </a:ln>
                <a:effectLst/>
                <a:uLnTx/>
                <a:uFillTx/>
                <a:latin typeface="+mj-lt"/>
                <a:ea typeface="+mn-ea"/>
                <a:cs typeface="+mn-cs"/>
              </a:rPr>
              <a:t>Situational</a:t>
            </a:r>
          </a:p>
        </p:txBody>
      </p:sp>
      <p:sp>
        <p:nvSpPr>
          <p:cNvPr id="42" name="TextBox 41">
            <a:extLst>
              <a:ext uri="{FF2B5EF4-FFF2-40B4-BE49-F238E27FC236}">
                <a16:creationId xmlns:a16="http://schemas.microsoft.com/office/drawing/2014/main" id="{6C5DCD75-4092-40AD-B4EE-CBBB064EBA81}"/>
              </a:ext>
            </a:extLst>
          </p:cNvPr>
          <p:cNvSpPr txBox="1"/>
          <p:nvPr/>
        </p:nvSpPr>
        <p:spPr>
          <a:xfrm>
            <a:off x="660401" y="2575886"/>
            <a:ext cx="3342347" cy="473709"/>
          </a:xfrm>
          <a:prstGeom prst="rect">
            <a:avLst/>
          </a:prstGeom>
          <a:solidFill>
            <a:schemeClr val="bg2">
              <a:lumMod val="90000"/>
            </a:schemeClr>
          </a:solidFill>
          <a:ln>
            <a:noFill/>
          </a:ln>
        </p:spPr>
        <p:txBody>
          <a:bodyPr wrap="square" lIns="91440" tIns="91440" rIns="91440" bIns="91440" rtlCol="0" anchor="ctr" anchorCtr="0">
            <a:noAutofit/>
          </a:bodyPr>
          <a:lstStyle/>
          <a:p>
            <a:pPr marL="0" marR="0" lvl="0" indent="0" algn="ctr" defTabSz="914225" rtl="0" eaLnBrk="1" fontAlgn="auto" latinLnBrk="0" hangingPunct="1">
              <a:spcBef>
                <a:spcPts val="200"/>
              </a:spcBef>
              <a:spcAft>
                <a:spcPts val="200"/>
              </a:spcAft>
              <a:buClrTx/>
              <a:buSzTx/>
              <a:buFontTx/>
              <a:buNone/>
              <a:tabLst/>
              <a:defRPr/>
            </a:pPr>
            <a:r>
              <a:rPr kumimoji="0" lang="en-US" sz="2000" i="0" u="none" strike="noStrike" kern="0" cap="none" spc="0" normalizeH="0" baseline="0" noProof="0">
                <a:ln>
                  <a:noFill/>
                </a:ln>
                <a:effectLst/>
                <a:uLnTx/>
                <a:uFillTx/>
                <a:ea typeface="+mn-ea"/>
                <a:cs typeface="+mn-cs"/>
              </a:rPr>
              <a:t>(one arm)</a:t>
            </a:r>
          </a:p>
        </p:txBody>
      </p:sp>
      <p:sp>
        <p:nvSpPr>
          <p:cNvPr id="48" name="TextBox 47">
            <a:extLst>
              <a:ext uri="{FF2B5EF4-FFF2-40B4-BE49-F238E27FC236}">
                <a16:creationId xmlns:a16="http://schemas.microsoft.com/office/drawing/2014/main" id="{624EBB1F-32B1-4176-983C-ED372E985558}"/>
              </a:ext>
            </a:extLst>
          </p:cNvPr>
          <p:cNvSpPr txBox="1"/>
          <p:nvPr/>
        </p:nvSpPr>
        <p:spPr>
          <a:xfrm>
            <a:off x="4424828" y="2575886"/>
            <a:ext cx="3342347" cy="473709"/>
          </a:xfrm>
          <a:prstGeom prst="rect">
            <a:avLst/>
          </a:prstGeom>
          <a:solidFill>
            <a:schemeClr val="bg2">
              <a:lumMod val="90000"/>
            </a:schemeClr>
          </a:solidFill>
          <a:ln>
            <a:noFill/>
          </a:ln>
        </p:spPr>
        <p:txBody>
          <a:bodyPr wrap="square" lIns="91440" tIns="91440" rIns="91440" bIns="91440" rtlCol="0" anchor="ctr" anchorCtr="0">
            <a:noAutofit/>
          </a:bodyPr>
          <a:lstStyle/>
          <a:p>
            <a:pPr marL="0" marR="0" lvl="0" indent="0" algn="ctr" defTabSz="914225" rtl="0" eaLnBrk="1" fontAlgn="auto" latinLnBrk="0" hangingPunct="1">
              <a:spcBef>
                <a:spcPts val="200"/>
              </a:spcBef>
              <a:spcAft>
                <a:spcPts val="200"/>
              </a:spcAft>
              <a:buClrTx/>
              <a:buSzTx/>
              <a:buFontTx/>
              <a:buNone/>
              <a:tabLst/>
              <a:defRPr/>
            </a:pPr>
            <a:r>
              <a:rPr kumimoji="0" lang="en-US" sz="2000" i="0" u="none" strike="noStrike" kern="0" cap="none" spc="0" normalizeH="0" baseline="0" noProof="0">
                <a:ln>
                  <a:noFill/>
                </a:ln>
                <a:effectLst/>
                <a:uLnTx/>
                <a:uFillTx/>
                <a:ea typeface="+mn-ea"/>
                <a:cs typeface="+mn-cs"/>
              </a:rPr>
              <a:t>(arm injury)</a:t>
            </a:r>
          </a:p>
        </p:txBody>
      </p:sp>
      <p:sp>
        <p:nvSpPr>
          <p:cNvPr id="54" name="TextBox 53">
            <a:extLst>
              <a:ext uri="{FF2B5EF4-FFF2-40B4-BE49-F238E27FC236}">
                <a16:creationId xmlns:a16="http://schemas.microsoft.com/office/drawing/2014/main" id="{73D6686B-4BED-4406-A2F9-05E05DDA7194}"/>
              </a:ext>
            </a:extLst>
          </p:cNvPr>
          <p:cNvSpPr txBox="1"/>
          <p:nvPr/>
        </p:nvSpPr>
        <p:spPr>
          <a:xfrm>
            <a:off x="8189254" y="2575886"/>
            <a:ext cx="3342347" cy="473709"/>
          </a:xfrm>
          <a:prstGeom prst="rect">
            <a:avLst/>
          </a:prstGeom>
          <a:solidFill>
            <a:schemeClr val="bg2">
              <a:lumMod val="90000"/>
            </a:schemeClr>
          </a:solidFill>
          <a:ln>
            <a:noFill/>
          </a:ln>
        </p:spPr>
        <p:txBody>
          <a:bodyPr wrap="square" lIns="91440" tIns="91440" rIns="91440" bIns="91440" rtlCol="0" anchor="ctr" anchorCtr="0">
            <a:noAutofit/>
          </a:bodyPr>
          <a:lstStyle/>
          <a:p>
            <a:pPr marL="0" marR="0" lvl="0" indent="0" algn="ctr" defTabSz="914225" rtl="0" eaLnBrk="1" fontAlgn="auto" latinLnBrk="0" hangingPunct="1">
              <a:spcBef>
                <a:spcPts val="200"/>
              </a:spcBef>
              <a:spcAft>
                <a:spcPts val="200"/>
              </a:spcAft>
              <a:buClrTx/>
              <a:buSzTx/>
              <a:buFontTx/>
              <a:buNone/>
              <a:tabLst/>
              <a:defRPr/>
            </a:pPr>
            <a:r>
              <a:rPr kumimoji="0" lang="en-US" sz="2000" i="0" u="none" strike="noStrike" kern="0" cap="none" spc="0" normalizeH="0" baseline="0" noProof="0">
                <a:ln>
                  <a:noFill/>
                </a:ln>
                <a:effectLst/>
                <a:uLnTx/>
                <a:uFillTx/>
                <a:ea typeface="+mn-ea"/>
                <a:cs typeface="+mn-cs"/>
              </a:rPr>
              <a:t>(new parent)</a:t>
            </a:r>
          </a:p>
        </p:txBody>
      </p:sp>
      <p:sp>
        <p:nvSpPr>
          <p:cNvPr id="59" name="TextBox 58">
            <a:extLst>
              <a:ext uri="{FF2B5EF4-FFF2-40B4-BE49-F238E27FC236}">
                <a16:creationId xmlns:a16="http://schemas.microsoft.com/office/drawing/2014/main" id="{4626920B-7FF6-4978-BFD0-946ABAF3AC5A}"/>
              </a:ext>
            </a:extLst>
          </p:cNvPr>
          <p:cNvSpPr txBox="1"/>
          <p:nvPr/>
        </p:nvSpPr>
        <p:spPr>
          <a:xfrm>
            <a:off x="-1" y="3388294"/>
            <a:ext cx="12192001" cy="430887"/>
          </a:xfrm>
          <a:prstGeom prst="rect">
            <a:avLst/>
          </a:prstGeom>
          <a:noFill/>
        </p:spPr>
        <p:txBody>
          <a:bodyPr wrap="square" lIns="0" tIns="0" rIns="0" bIns="0" rtlCol="0">
            <a:spAutoFit/>
          </a:bodyPr>
          <a:lstStyle/>
          <a:p>
            <a:pPr algn="ctr"/>
            <a:r>
              <a:rPr lang="en-US" sz="2800" b="1" dirty="0">
                <a:solidFill>
                  <a:schemeClr val="bg1"/>
                </a:solidFill>
              </a:rPr>
              <a:t>COVID has disproportionately affected people with disabilities</a:t>
            </a:r>
          </a:p>
        </p:txBody>
      </p:sp>
      <p:sp>
        <p:nvSpPr>
          <p:cNvPr id="58" name="Rectangle 57">
            <a:extLst>
              <a:ext uri="{FF2B5EF4-FFF2-40B4-BE49-F238E27FC236}">
                <a16:creationId xmlns:a16="http://schemas.microsoft.com/office/drawing/2014/main" id="{7F5A27E7-0C1C-4DED-A647-B2E903291B3A}"/>
              </a:ext>
              <a:ext uri="{C183D7F6-B498-43B3-948B-1728B52AA6E4}">
                <adec:decorative xmlns:adec="http://schemas.microsoft.com/office/drawing/2017/decorative" val="1"/>
              </a:ext>
            </a:extLst>
          </p:cNvPr>
          <p:cNvSpPr/>
          <p:nvPr/>
        </p:nvSpPr>
        <p:spPr bwMode="auto">
          <a:xfrm>
            <a:off x="-1" y="3050712"/>
            <a:ext cx="12192001" cy="210974"/>
          </a:xfrm>
          <a:prstGeom prst="rect">
            <a:avLst/>
          </a:prstGeom>
          <a:solidFill>
            <a:schemeClr val="bg2"/>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a:extLst>
              <a:ext uri="{FF2B5EF4-FFF2-40B4-BE49-F238E27FC236}">
                <a16:creationId xmlns:a16="http://schemas.microsoft.com/office/drawing/2014/main" id="{1A2B270E-4A69-4C2F-BCDE-2CDE572612CA}"/>
              </a:ext>
            </a:extLst>
          </p:cNvPr>
          <p:cNvSpPr/>
          <p:nvPr/>
        </p:nvSpPr>
        <p:spPr bwMode="auto">
          <a:xfrm>
            <a:off x="376519" y="4052553"/>
            <a:ext cx="2837328" cy="212376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b="1" i="0" dirty="0">
              <a:solidFill>
                <a:srgbClr val="253548"/>
              </a:solidFill>
              <a:effectLst/>
            </a:endParaRPr>
          </a:p>
          <a:p>
            <a:pPr algn="ctr" defTabSz="932472" fontAlgn="base">
              <a:spcBef>
                <a:spcPct val="0"/>
              </a:spcBef>
              <a:spcAft>
                <a:spcPct val="0"/>
              </a:spcAft>
            </a:pPr>
            <a:r>
              <a:rPr lang="en-US" sz="1600" b="1" dirty="0">
                <a:solidFill>
                  <a:srgbClr val="253548"/>
                </a:solidFill>
              </a:rPr>
              <a:t>Long Covid (UK) 550K+</a:t>
            </a:r>
          </a:p>
          <a:p>
            <a:pPr algn="ctr" defTabSz="932472" fontAlgn="base">
              <a:spcBef>
                <a:spcPct val="0"/>
              </a:spcBef>
              <a:spcAft>
                <a:spcPct val="0"/>
              </a:spcAft>
            </a:pPr>
            <a:endParaRPr lang="en-US" sz="1600" b="1" dirty="0">
              <a:solidFill>
                <a:srgbClr val="253548"/>
              </a:solidFill>
            </a:endParaRPr>
          </a:p>
          <a:p>
            <a:pPr algn="ctr" defTabSz="932472" fontAlgn="base">
              <a:spcBef>
                <a:spcPct val="0"/>
              </a:spcBef>
              <a:spcAft>
                <a:spcPct val="0"/>
              </a:spcAft>
            </a:pPr>
            <a:r>
              <a:rPr lang="en-US" sz="1600" b="1" i="0" dirty="0">
                <a:solidFill>
                  <a:srgbClr val="253548"/>
                </a:solidFill>
                <a:effectLst/>
              </a:rPr>
              <a:t>Mental Health (US) screening ~+800% 2020</a:t>
            </a:r>
          </a:p>
          <a:p>
            <a:pPr algn="ctr" defTabSz="932472" fontAlgn="base">
              <a:spcBef>
                <a:spcPct val="0"/>
              </a:spcBef>
              <a:spcAft>
                <a:spcPct val="0"/>
              </a:spcAft>
            </a:pPr>
            <a:endParaRPr lang="en-US" sz="1600" b="1" i="0" dirty="0">
              <a:solidFill>
                <a:srgbClr val="253548"/>
              </a:solidFill>
              <a:effectLst/>
            </a:endParaRPr>
          </a:p>
        </p:txBody>
      </p:sp>
      <p:sp>
        <p:nvSpPr>
          <p:cNvPr id="4" name="Rectangle 3">
            <a:extLst>
              <a:ext uri="{FF2B5EF4-FFF2-40B4-BE49-F238E27FC236}">
                <a16:creationId xmlns:a16="http://schemas.microsoft.com/office/drawing/2014/main" id="{F34D17F0-9CF9-4EB8-B16D-94FFE5F0CBDF}"/>
              </a:ext>
            </a:extLst>
          </p:cNvPr>
          <p:cNvSpPr/>
          <p:nvPr/>
        </p:nvSpPr>
        <p:spPr bwMode="auto">
          <a:xfrm>
            <a:off x="3294904" y="4052553"/>
            <a:ext cx="2837328" cy="212376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0" dirty="0">
                <a:solidFill>
                  <a:srgbClr val="253548"/>
                </a:solidFill>
                <a:effectLst/>
              </a:rPr>
              <a:t>People with disabilities paid 87 cents on the dollar compared to workers without disabilities</a:t>
            </a:r>
            <a:endParaRPr lang="en-US" sz="1600" b="1" i="0" dirty="0">
              <a:solidFill>
                <a:srgbClr val="000000"/>
              </a:solidFill>
              <a:effectLst/>
              <a:cs typeface="Segoe UI" pitchFamily="34" charset="0"/>
            </a:endParaRPr>
          </a:p>
        </p:txBody>
      </p:sp>
      <p:sp>
        <p:nvSpPr>
          <p:cNvPr id="9" name="Rectangle 8">
            <a:extLst>
              <a:ext uri="{FF2B5EF4-FFF2-40B4-BE49-F238E27FC236}">
                <a16:creationId xmlns:a16="http://schemas.microsoft.com/office/drawing/2014/main" id="{A3BF6E52-FB3A-4C43-B972-FF63CDB6E6F7}"/>
              </a:ext>
            </a:extLst>
          </p:cNvPr>
          <p:cNvSpPr/>
          <p:nvPr/>
        </p:nvSpPr>
        <p:spPr bwMode="auto">
          <a:xfrm>
            <a:off x="6213289" y="4052553"/>
            <a:ext cx="2837328" cy="212376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i="0" dirty="0">
                <a:solidFill>
                  <a:srgbClr val="253548"/>
                </a:solidFill>
                <a:effectLst/>
              </a:rPr>
              <a:t>The poverty rate for people with disabilities - 26 percent</a:t>
            </a:r>
            <a:endParaRPr lang="en-US" sz="1600" b="1" dirty="0">
              <a:solidFill>
                <a:srgbClr val="000000"/>
              </a:solidFill>
              <a:cs typeface="Segoe UI" pitchFamily="34" charset="0"/>
            </a:endParaRPr>
          </a:p>
        </p:txBody>
      </p:sp>
      <p:sp>
        <p:nvSpPr>
          <p:cNvPr id="11" name="Rectangle 10">
            <a:extLst>
              <a:ext uri="{FF2B5EF4-FFF2-40B4-BE49-F238E27FC236}">
                <a16:creationId xmlns:a16="http://schemas.microsoft.com/office/drawing/2014/main" id="{E85B78BD-3046-46FD-8FE7-491557696CAE}"/>
              </a:ext>
            </a:extLst>
          </p:cNvPr>
          <p:cNvSpPr/>
          <p:nvPr/>
        </p:nvSpPr>
        <p:spPr bwMode="auto">
          <a:xfrm>
            <a:off x="9131675" y="4052553"/>
            <a:ext cx="2837328" cy="212376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dirty="0">
                <a:solidFill>
                  <a:srgbClr val="253548"/>
                </a:solidFill>
              </a:rPr>
              <a:t>Hiring disabled talent, can increase </a:t>
            </a:r>
            <a:r>
              <a:rPr lang="en-US" sz="1600" b="1" i="0" dirty="0">
                <a:solidFill>
                  <a:srgbClr val="253548"/>
                </a:solidFill>
                <a:effectLst/>
              </a:rPr>
              <a:t>talent pool 10+ million people in US alone</a:t>
            </a:r>
            <a:endParaRPr lang="en-US" sz="1600" b="1" dirty="0">
              <a:solidFill>
                <a:srgbClr val="000000"/>
              </a:solidFill>
              <a:ea typeface="Segoe UI" pitchFamily="34" charset="0"/>
              <a:cs typeface="Segoe UI" pitchFamily="34" charset="0"/>
            </a:endParaRPr>
          </a:p>
        </p:txBody>
      </p:sp>
    </p:spTree>
    <p:extLst>
      <p:ext uri="{BB962C8B-B14F-4D97-AF65-F5344CB8AC3E}">
        <p14:creationId xmlns:p14="http://schemas.microsoft.com/office/powerpoint/2010/main" val="286980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BD40B7F-4EE8-4FF6-9E16-5CE3FA2E6C59}"/>
              </a:ext>
              <a:ext uri="{C183D7F6-B498-43B3-948B-1728B52AA6E4}">
                <adec:decorative xmlns:adec="http://schemas.microsoft.com/office/drawing/2017/decorative" val="1"/>
              </a:ext>
            </a:extLst>
          </p:cNvPr>
          <p:cNvSpPr/>
          <p:nvPr/>
        </p:nvSpPr>
        <p:spPr bwMode="auto">
          <a:xfrm>
            <a:off x="-1" y="2094547"/>
            <a:ext cx="12192001" cy="453343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000000"/>
              </a:solidFill>
              <a:ea typeface="Segoe UI" pitchFamily="34" charset="0"/>
              <a:cs typeface="Segoe UI" pitchFamily="34" charset="0"/>
            </a:endParaRPr>
          </a:p>
        </p:txBody>
      </p:sp>
      <p:sp>
        <p:nvSpPr>
          <p:cNvPr id="6" name="Title 5">
            <a:extLst>
              <a:ext uri="{FF2B5EF4-FFF2-40B4-BE49-F238E27FC236}">
                <a16:creationId xmlns:a16="http://schemas.microsoft.com/office/drawing/2014/main" id="{C69FC64F-81DE-42BF-AFC0-E967520E29F8}"/>
              </a:ext>
              <a:ext uri="{C183D7F6-B498-43B3-948B-1728B52AA6E4}">
                <adec:decorative xmlns:adec="http://schemas.microsoft.com/office/drawing/2017/decorative" val="0"/>
              </a:ext>
            </a:extLst>
          </p:cNvPr>
          <p:cNvSpPr>
            <a:spLocks noGrp="1"/>
          </p:cNvSpPr>
          <p:nvPr>
            <p:ph type="title"/>
          </p:nvPr>
        </p:nvSpPr>
        <p:spPr>
          <a:xfrm>
            <a:off x="296151" y="370625"/>
            <a:ext cx="11018520" cy="553998"/>
          </a:xfrm>
        </p:spPr>
        <p:txBody>
          <a:bodyPr/>
          <a:lstStyle/>
          <a:p>
            <a:r>
              <a:rPr lang="en-US" dirty="0"/>
              <a:t>Bridging the Disability Divide</a:t>
            </a:r>
          </a:p>
        </p:txBody>
      </p:sp>
      <p:sp>
        <p:nvSpPr>
          <p:cNvPr id="24" name="Rectangle 23">
            <a:extLst>
              <a:ext uri="{FF2B5EF4-FFF2-40B4-BE49-F238E27FC236}">
                <a16:creationId xmlns:a16="http://schemas.microsoft.com/office/drawing/2014/main" id="{EECF114E-AEB2-483E-A583-9DDDD0CC3173}"/>
              </a:ext>
              <a:ext uri="{C183D7F6-B498-43B3-948B-1728B52AA6E4}">
                <adec:decorative xmlns:adec="http://schemas.microsoft.com/office/drawing/2017/decorative" val="0"/>
              </a:ext>
            </a:extLst>
          </p:cNvPr>
          <p:cNvSpPr>
            <a:spLocks noChangeAspect="1"/>
          </p:cNvSpPr>
          <p:nvPr/>
        </p:nvSpPr>
        <p:spPr>
          <a:xfrm>
            <a:off x="282381" y="1036265"/>
            <a:ext cx="11501454" cy="664797"/>
          </a:xfrm>
          <a:prstGeom prst="rect">
            <a:avLst/>
          </a:prstGeom>
        </p:spPr>
        <p:txBody>
          <a:bodyPr wrap="square" lIns="0" tIns="0" rIns="0" bIns="0" anchor="t">
            <a:spAutoFit/>
          </a:bodyPr>
          <a:lstStyle/>
          <a:p>
            <a:pPr marL="0" marR="0" lvl="0" indent="0" defTabSz="914225" rtl="0" eaLnBrk="1" fontAlgn="auto" latinLnBrk="0" hangingPunct="1">
              <a:lnSpc>
                <a:spcPct val="90000"/>
              </a:lnSpc>
              <a:spcBef>
                <a:spcPts val="0"/>
              </a:spcBef>
              <a:spcAft>
                <a:spcPts val="0"/>
              </a:spcAft>
              <a:buClrTx/>
              <a:buSzTx/>
              <a:buFontTx/>
              <a:buNone/>
              <a:tabLst/>
              <a:defRPr/>
            </a:pPr>
            <a:r>
              <a:rPr lang="en-US" sz="2400" i="1" kern="0" dirty="0">
                <a:latin typeface="Segoe UI"/>
              </a:rPr>
              <a:t>A</a:t>
            </a:r>
            <a:r>
              <a:rPr kumimoji="0" lang="en-US" sz="2400" i="1" u="none" strike="noStrike" kern="0" cap="none" spc="0" normalizeH="0" baseline="0" noProof="0" dirty="0">
                <a:ln>
                  <a:noFill/>
                </a:ln>
                <a:effectLst/>
                <a:uLnTx/>
                <a:uFillTx/>
                <a:latin typeface="Segoe UI"/>
              </a:rPr>
              <a:t> new technology-led five-year commitment to create and open doors to bigger opportunities for people with disabilities.</a:t>
            </a:r>
          </a:p>
        </p:txBody>
      </p:sp>
      <p:sp>
        <p:nvSpPr>
          <p:cNvPr id="58" name="Rectangle 57">
            <a:extLst>
              <a:ext uri="{FF2B5EF4-FFF2-40B4-BE49-F238E27FC236}">
                <a16:creationId xmlns:a16="http://schemas.microsoft.com/office/drawing/2014/main" id="{7F5A27E7-0C1C-4DED-A647-B2E903291B3A}"/>
              </a:ext>
              <a:ext uri="{C183D7F6-B498-43B3-948B-1728B52AA6E4}">
                <adec:decorative xmlns:adec="http://schemas.microsoft.com/office/drawing/2017/decorative" val="1"/>
              </a:ext>
            </a:extLst>
          </p:cNvPr>
          <p:cNvSpPr/>
          <p:nvPr/>
        </p:nvSpPr>
        <p:spPr bwMode="auto">
          <a:xfrm>
            <a:off x="-1" y="1883572"/>
            <a:ext cx="12192001" cy="210974"/>
          </a:xfrm>
          <a:prstGeom prst="rect">
            <a:avLst/>
          </a:prstGeom>
          <a:solidFill>
            <a:schemeClr val="bg2"/>
          </a:solidFill>
          <a:ln>
            <a:solidFill>
              <a:schemeClr val="tx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descr="Screen capture from upped ambition blog">
            <a:extLst>
              <a:ext uri="{FF2B5EF4-FFF2-40B4-BE49-F238E27FC236}">
                <a16:creationId xmlns:a16="http://schemas.microsoft.com/office/drawing/2014/main" id="{53065859-7F24-4D41-AD7A-A0FDB4C930F5}"/>
              </a:ext>
            </a:extLst>
          </p:cNvPr>
          <p:cNvPicPr>
            <a:picLocks noChangeAspect="1"/>
          </p:cNvPicPr>
          <p:nvPr/>
        </p:nvPicPr>
        <p:blipFill>
          <a:blip r:embed="rId3"/>
          <a:stretch>
            <a:fillRect/>
          </a:stretch>
        </p:blipFill>
        <p:spPr>
          <a:xfrm>
            <a:off x="282381" y="2266531"/>
            <a:ext cx="5742489" cy="4231735"/>
          </a:xfrm>
          <a:prstGeom prst="rect">
            <a:avLst/>
          </a:prstGeom>
        </p:spPr>
      </p:pic>
      <p:sp>
        <p:nvSpPr>
          <p:cNvPr id="10" name="Rectangle 9">
            <a:extLst>
              <a:ext uri="{FF2B5EF4-FFF2-40B4-BE49-F238E27FC236}">
                <a16:creationId xmlns:a16="http://schemas.microsoft.com/office/drawing/2014/main" id="{E051D916-D43A-4B5B-9047-5DD16F6249AD}"/>
              </a:ext>
            </a:extLst>
          </p:cNvPr>
          <p:cNvSpPr/>
          <p:nvPr/>
        </p:nvSpPr>
        <p:spPr>
          <a:xfrm>
            <a:off x="6786903" y="2266531"/>
            <a:ext cx="4996932" cy="2825486"/>
          </a:xfrm>
          <a:prstGeom prst="rect">
            <a:avLst/>
          </a:prstGeom>
          <a:solidFill>
            <a:sysClr val="window" lastClr="FFFFFF">
              <a:lumMod val="95000"/>
            </a:sysClr>
          </a:solid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800" b="0" i="0" u="none" strike="noStrike" kern="0" cap="none" spc="0" normalizeH="0" baseline="0" noProof="0" dirty="0">
                <a:ln>
                  <a:noFill/>
                </a:ln>
                <a:solidFill>
                  <a:srgbClr val="0070C0"/>
                </a:solidFill>
                <a:effectLst/>
                <a:uLnTx/>
                <a:uFillTx/>
                <a:latin typeface="Segoe UI Semibold" panose="020B0702040204020203" pitchFamily="34" charset="0"/>
                <a:ea typeface="+mn-ea"/>
                <a:cs typeface="Segoe UI Semibold" panose="020B0702040204020203" pitchFamily="34" charset="0"/>
              </a:rPr>
              <a:t>Focus areas:</a:t>
            </a:r>
          </a:p>
          <a:p>
            <a:pPr marR="0" lvl="0" defTabSz="914400" eaLnBrk="1" fontAlgn="auto" latinLnBrk="0" hangingPunct="1">
              <a:lnSpc>
                <a:spcPct val="100000"/>
              </a:lnSpc>
              <a:spcBef>
                <a:spcPts val="0"/>
              </a:spcBef>
              <a:spcAft>
                <a:spcPts val="0"/>
              </a:spcAft>
              <a:buClrTx/>
              <a:buSzTx/>
              <a:tabLst/>
              <a:defRPr/>
            </a:pPr>
            <a:endParaRPr kumimoji="0" lang="en-US" sz="2800" b="0" i="0" u="none" strike="noStrike" kern="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457200" marR="0" lvl="0" indent="-457200" defTabSz="91440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dirty="0">
                <a:ln>
                  <a:noFill/>
                </a:ln>
                <a:solidFill>
                  <a:prstClr val="black"/>
                </a:solidFill>
                <a:effectLst/>
                <a:uLnTx/>
                <a:uFillTx/>
                <a:latin typeface="+mn-lt"/>
                <a:ea typeface="+mn-ea"/>
                <a:cs typeface="Segoe UI Semibold" panose="020B0702040204020203" pitchFamily="34" charset="0"/>
              </a:rPr>
              <a:t>Technology</a:t>
            </a:r>
          </a:p>
          <a:p>
            <a:pPr marL="457200" marR="0" lvl="0" indent="-457200" defTabSz="91440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dirty="0">
                <a:ln>
                  <a:noFill/>
                </a:ln>
                <a:solidFill>
                  <a:prstClr val="black"/>
                </a:solidFill>
                <a:effectLst/>
                <a:uLnTx/>
                <a:uFillTx/>
                <a:latin typeface="+mn-lt"/>
                <a:ea typeface="+mn-ea"/>
                <a:cs typeface="Segoe UI Semibold" panose="020B0702040204020203" pitchFamily="34" charset="0"/>
              </a:rPr>
              <a:t>Talent Development</a:t>
            </a:r>
          </a:p>
          <a:p>
            <a:pPr marL="457200" marR="0" lvl="0" indent="-457200" defTabSz="91440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dirty="0">
                <a:ln>
                  <a:noFill/>
                </a:ln>
                <a:solidFill>
                  <a:prstClr val="black"/>
                </a:solidFill>
                <a:effectLst/>
                <a:uLnTx/>
                <a:uFillTx/>
                <a:latin typeface="+mn-lt"/>
                <a:ea typeface="+mn-ea"/>
                <a:cs typeface="Segoe UI Semibold" panose="020B0702040204020203" pitchFamily="34" charset="0"/>
              </a:rPr>
              <a:t>Employee Experience</a:t>
            </a:r>
          </a:p>
          <a:p>
            <a:pPr marL="457200" marR="0" lvl="0" indent="-457200" defTabSz="91440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dirty="0">
                <a:ln>
                  <a:noFill/>
                </a:ln>
                <a:solidFill>
                  <a:prstClr val="black"/>
                </a:solidFill>
                <a:effectLst/>
                <a:uLnTx/>
                <a:uFillTx/>
                <a:latin typeface="+mn-lt"/>
                <a:ea typeface="+mn-ea"/>
                <a:cs typeface="Segoe UI Semibold" panose="020B0702040204020203" pitchFamily="34" charset="0"/>
              </a:rPr>
              <a:t>Policy</a:t>
            </a:r>
          </a:p>
          <a:p>
            <a:pPr marL="457200" marR="0" lvl="0" indent="-457200" defTabSz="914400" eaLnBrk="1" fontAlgn="auto" latinLnBrk="0" hangingPunct="1">
              <a:lnSpc>
                <a:spcPct val="100000"/>
              </a:lnSpc>
              <a:spcBef>
                <a:spcPts val="0"/>
              </a:spcBef>
              <a:spcAft>
                <a:spcPts val="0"/>
              </a:spcAft>
              <a:buClrTx/>
              <a:buSzTx/>
              <a:buFont typeface="+mj-lt"/>
              <a:buAutoNum type="arabicPeriod"/>
              <a:tabLst/>
              <a:defRPr/>
            </a:pPr>
            <a:r>
              <a:rPr kumimoji="0" lang="en-US" sz="2000" b="0" i="0" u="none" strike="noStrike" kern="0" cap="none" spc="0" normalizeH="0" baseline="0" noProof="0" dirty="0">
                <a:ln>
                  <a:noFill/>
                </a:ln>
                <a:solidFill>
                  <a:prstClr val="black"/>
                </a:solidFill>
                <a:effectLst/>
                <a:uLnTx/>
                <a:uFillTx/>
                <a:latin typeface="+mn-lt"/>
                <a:ea typeface="+mn-ea"/>
                <a:cs typeface="Segoe UI Semibold" panose="020B0702040204020203" pitchFamily="34" charset="0"/>
              </a:rPr>
              <a:t>Partnership</a:t>
            </a:r>
          </a:p>
          <a:p>
            <a:pPr marL="514350" marR="0" lvl="0" indent="-514350" defTabSz="914400" eaLnBrk="1" fontAlgn="auto" latinLnBrk="0" hangingPunct="1">
              <a:lnSpc>
                <a:spcPct val="100000"/>
              </a:lnSpc>
              <a:spcBef>
                <a:spcPts val="0"/>
              </a:spcBef>
              <a:spcAft>
                <a:spcPts val="0"/>
              </a:spcAft>
              <a:buClrTx/>
              <a:buSzTx/>
              <a:buFont typeface="+mj-lt"/>
              <a:buAutoNum type="arabicPeriod"/>
              <a:tabLst/>
              <a:defRPr/>
            </a:pPr>
            <a:endParaRPr kumimoji="0" lang="en-US" sz="2800" b="0" i="0" u="none" strike="noStrike" kern="0" cap="none" spc="0" normalizeH="0" baseline="0" noProof="0" dirty="0">
              <a:ln>
                <a:noFill/>
              </a:ln>
              <a:solidFill>
                <a:prstClr val="black"/>
              </a:solidFill>
              <a:effectLst/>
              <a:uLnTx/>
              <a:uFillTx/>
              <a:latin typeface="Segoe UI Semibold" panose="020B0702040204020203" pitchFamily="34" charset="0"/>
              <a:ea typeface="+mn-ea"/>
              <a:cs typeface="Segoe UI Semibold" panose="020B07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40C86A4-A5DC-46E9-B7BA-53847FF8C336}"/>
              </a:ext>
            </a:extLst>
          </p:cNvPr>
          <p:cNvSpPr/>
          <p:nvPr/>
        </p:nvSpPr>
        <p:spPr>
          <a:xfrm>
            <a:off x="6786903" y="5354002"/>
            <a:ext cx="4996932" cy="900672"/>
          </a:xfrm>
          <a:prstGeom prst="rect">
            <a:avLst/>
          </a:prstGeom>
          <a:noFill/>
          <a:ln w="12700" cap="flat" cmpd="sng" algn="ctr">
            <a:noFill/>
            <a:prstDash val="solid"/>
            <a:miter lim="800000"/>
          </a:ln>
          <a:effectLst/>
        </p:spPr>
        <p:style>
          <a:lnRef idx="0">
            <a:scrgbClr r="0" g="0" b="0"/>
          </a:lnRef>
          <a:fillRef idx="0">
            <a:scrgbClr r="0" g="0" b="0"/>
          </a:fillRef>
          <a:effectRef idx="0">
            <a:scrgbClr r="0" g="0" b="0"/>
          </a:effectRef>
          <a:fontRef idx="major"/>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US" sz="2800" kern="0" dirty="0">
                <a:solidFill>
                  <a:srgbClr val="0070C0"/>
                </a:solidFill>
                <a:latin typeface="Segoe UI Semibold" panose="020B0702040204020203" pitchFamily="34" charset="0"/>
                <a:ea typeface="+mn-ea"/>
                <a:cs typeface="Segoe UI Semibold" panose="020B0702040204020203" pitchFamily="34" charset="0"/>
              </a:rPr>
              <a:t>Learn more: </a:t>
            </a:r>
            <a:r>
              <a:rPr kumimoji="0" lang="en-US" sz="2000" b="0" i="0" u="none" strike="noStrike" kern="0" cap="none" spc="0" normalizeH="0" baseline="0" noProof="0" dirty="0">
                <a:ln>
                  <a:noFill/>
                </a:ln>
                <a:solidFill>
                  <a:prstClr val="black"/>
                </a:solidFill>
                <a:effectLst/>
                <a:uLnTx/>
                <a:uFillTx/>
                <a:latin typeface="+mn-lt"/>
                <a:ea typeface="+mn-ea"/>
                <a:cs typeface="Segoe UI" panose="020B0502040204020203" pitchFamily="34" charset="0"/>
              </a:rPr>
              <a:t>aka.ms/accessibilitycommitment</a:t>
            </a:r>
            <a:endParaRPr kumimoji="0" lang="en-US" sz="2400" b="0" i="0" u="none" strike="noStrike" kern="0" cap="none" spc="0" normalizeH="0" baseline="0" noProof="0" dirty="0">
              <a:ln>
                <a:noFill/>
              </a:ln>
              <a:solidFill>
                <a:prstClr val="black"/>
              </a:solidFill>
              <a:effectLst/>
              <a:uLnTx/>
              <a:uFillTx/>
              <a:latin typeface="+mn-lt"/>
              <a:ea typeface="+mn-ea"/>
              <a:cs typeface="Segoe UI" panose="020B0502040204020203" pitchFamily="34" charset="0"/>
            </a:endParaRPr>
          </a:p>
        </p:txBody>
      </p:sp>
    </p:spTree>
    <p:extLst>
      <p:ext uri="{BB962C8B-B14F-4D97-AF65-F5344CB8AC3E}">
        <p14:creationId xmlns:p14="http://schemas.microsoft.com/office/powerpoint/2010/main" val="144491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B050EC-A584-453E-8396-7FFCF79268AC}"/>
              </a:ext>
            </a:extLst>
          </p:cNvPr>
          <p:cNvSpPr>
            <a:spLocks noGrp="1"/>
          </p:cNvSpPr>
          <p:nvPr>
            <p:ph type="title"/>
          </p:nvPr>
        </p:nvSpPr>
        <p:spPr/>
        <p:txBody>
          <a:bodyPr/>
          <a:lstStyle/>
          <a:p>
            <a:r>
              <a:rPr lang="en-US" dirty="0"/>
              <a:t>How do we do it?</a:t>
            </a:r>
          </a:p>
        </p:txBody>
      </p:sp>
    </p:spTree>
    <p:extLst>
      <p:ext uri="{BB962C8B-B14F-4D97-AF65-F5344CB8AC3E}">
        <p14:creationId xmlns:p14="http://schemas.microsoft.com/office/powerpoint/2010/main" val="3865878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46B29-EAA6-4063-8ACE-9921CC34D735}"/>
              </a:ext>
            </a:extLst>
          </p:cNvPr>
          <p:cNvSpPr>
            <a:spLocks noGrp="1"/>
          </p:cNvSpPr>
          <p:nvPr>
            <p:ph type="title" idx="4294967295"/>
          </p:nvPr>
        </p:nvSpPr>
        <p:spPr>
          <a:xfrm>
            <a:off x="335573" y="235068"/>
            <a:ext cx="11018520" cy="724044"/>
          </a:xfrm>
        </p:spPr>
        <p:txBody>
          <a:bodyPr/>
          <a:lstStyle/>
          <a:p>
            <a:pPr fontAlgn="base">
              <a:spcAft>
                <a:spcPct val="0"/>
              </a:spcAft>
              <a:defRPr/>
            </a:pPr>
            <a:r>
              <a:rPr lang="en-US" sz="4705" kern="0" spc="-98">
                <a:latin typeface="Segoe UI Semibold" panose="020B0702040204020203" pitchFamily="34" charset="0"/>
                <a:cs typeface="Segoe UI Semibold" panose="020B0702040204020203" pitchFamily="34" charset="0"/>
              </a:rPr>
              <a:t>Org Structure</a:t>
            </a:r>
          </a:p>
        </p:txBody>
      </p:sp>
      <p:sp>
        <p:nvSpPr>
          <p:cNvPr id="4" name="TextBox 3">
            <a:extLst>
              <a:ext uri="{FF2B5EF4-FFF2-40B4-BE49-F238E27FC236}">
                <a16:creationId xmlns:a16="http://schemas.microsoft.com/office/drawing/2014/main" id="{1BF568CE-BDAD-48B6-AC21-1E830394A9C3}"/>
              </a:ext>
            </a:extLst>
          </p:cNvPr>
          <p:cNvSpPr txBox="1"/>
          <p:nvPr/>
        </p:nvSpPr>
        <p:spPr>
          <a:xfrm>
            <a:off x="335573" y="1108516"/>
            <a:ext cx="3967993" cy="332399"/>
          </a:xfrm>
          <a:prstGeom prst="rect">
            <a:avLst/>
          </a:prstGeom>
          <a:noFill/>
        </p:spPr>
        <p:txBody>
          <a:bodyPr wrap="square" lIns="0" tIns="0" rIns="0" bIns="0" rtlCol="0">
            <a:spAutoFit/>
          </a:bodyPr>
          <a:lstStyle/>
          <a:p>
            <a:pPr marL="0" marR="0" lvl="0" indent="0" algn="l" defTabSz="932742" rtl="0" eaLnBrk="1" fontAlgn="auto" latinLnBrk="0" hangingPunct="1">
              <a:lnSpc>
                <a:spcPct val="90000"/>
              </a:lnSpc>
              <a:spcBef>
                <a:spcPts val="1224"/>
              </a:spcBef>
              <a:spcAft>
                <a:spcPts val="300"/>
              </a:spcAft>
              <a:buClr>
                <a:srgbClr val="FFFFFF"/>
              </a:buClr>
              <a:buSzPct val="90000"/>
              <a:buFontTx/>
              <a:buNone/>
              <a:tabLst/>
              <a:defRPr/>
            </a:pPr>
            <a:r>
              <a:rPr kumimoji="0" lang="en-US" sz="24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panose="020B0502040204020203" pitchFamily="34" charset="0"/>
              </a:rPr>
              <a:t>Hub and Spoke Model</a:t>
            </a:r>
          </a:p>
        </p:txBody>
      </p:sp>
      <p:sp>
        <p:nvSpPr>
          <p:cNvPr id="5" name="TextBox 4">
            <a:extLst>
              <a:ext uri="{FF2B5EF4-FFF2-40B4-BE49-F238E27FC236}">
                <a16:creationId xmlns:a16="http://schemas.microsoft.com/office/drawing/2014/main" id="{571563F5-9F75-4A6C-A9EC-A0D4DD069C0B}"/>
              </a:ext>
            </a:extLst>
          </p:cNvPr>
          <p:cNvSpPr txBox="1"/>
          <p:nvPr/>
        </p:nvSpPr>
        <p:spPr>
          <a:xfrm>
            <a:off x="449977" y="2459423"/>
            <a:ext cx="5092904" cy="3262432"/>
          </a:xfrm>
          <a:prstGeom prst="rect">
            <a:avLst/>
          </a:prstGeom>
          <a:noFill/>
        </p:spPr>
        <p:txBody>
          <a:bodyPr wrap="square" lIns="0" tIns="0" rIns="0" bIns="0" rtlCol="0">
            <a:spAutoFit/>
          </a:bodyPr>
          <a:lstStyle/>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Represent the company’s accessibility approach internally and externally</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Facilitate and support game-changing innovations</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Provide accessibility training and resources</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Create scalable pipelines of talent</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anage and grow NGO relationships</a:t>
            </a:r>
          </a:p>
          <a:p>
            <a:pPr marL="342900" marR="0" lvl="0" indent="-342900" algn="l" defTabSz="914367"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Provide customer support for accessibility questions and use of assistive technology</a:t>
            </a:r>
          </a:p>
        </p:txBody>
      </p:sp>
      <p:grpSp>
        <p:nvGrpSpPr>
          <p:cNvPr id="6" name="Group 5" descr="Our org structure with accessibility in the middle and engineering, marking, sales, procurement, HR, and support along the outside to suggest a hub and spoke model.">
            <a:extLst>
              <a:ext uri="{FF2B5EF4-FFF2-40B4-BE49-F238E27FC236}">
                <a16:creationId xmlns:a16="http://schemas.microsoft.com/office/drawing/2014/main" id="{5E569163-ED70-401E-B09D-36D07BA77860}"/>
              </a:ext>
            </a:extLst>
          </p:cNvPr>
          <p:cNvGrpSpPr/>
          <p:nvPr/>
        </p:nvGrpSpPr>
        <p:grpSpPr>
          <a:xfrm>
            <a:off x="6021439" y="507295"/>
            <a:ext cx="5457921" cy="6094446"/>
            <a:chOff x="6021439" y="507295"/>
            <a:chExt cx="5457921" cy="6094446"/>
          </a:xfrm>
        </p:grpSpPr>
        <p:sp>
          <p:nvSpPr>
            <p:cNvPr id="7" name="Freeform 7">
              <a:extLst>
                <a:ext uri="{FF2B5EF4-FFF2-40B4-BE49-F238E27FC236}">
                  <a16:creationId xmlns:a16="http://schemas.microsoft.com/office/drawing/2014/main" id="{D259ECC3-3791-437C-9FBA-B228741F8300}"/>
                </a:ext>
                <a:ext uri="{C183D7F6-B498-43B3-948B-1728B52AA6E4}">
                  <adec:decorative xmlns:adec="http://schemas.microsoft.com/office/drawing/2017/decorative" val="1"/>
                </a:ext>
              </a:extLst>
            </p:cNvPr>
            <p:cNvSpPr>
              <a:spLocks noEditPoints="1"/>
            </p:cNvSpPr>
            <p:nvPr/>
          </p:nvSpPr>
          <p:spPr bwMode="auto">
            <a:xfrm>
              <a:off x="6415182" y="1506436"/>
              <a:ext cx="4670436" cy="4093051"/>
            </a:xfrm>
            <a:custGeom>
              <a:avLst/>
              <a:gdLst>
                <a:gd name="T0" fmla="*/ 751 w 1501"/>
                <a:gd name="T1" fmla="*/ 1251 h 1314"/>
                <a:gd name="T2" fmla="*/ 236 w 1501"/>
                <a:gd name="T3" fmla="*/ 954 h 1314"/>
                <a:gd name="T4" fmla="*/ 454 w 1501"/>
                <a:gd name="T5" fmla="*/ 143 h 1314"/>
                <a:gd name="T6" fmla="*/ 750 w 1501"/>
                <a:gd name="T7" fmla="*/ 63 h 1314"/>
                <a:gd name="T8" fmla="*/ 1265 w 1501"/>
                <a:gd name="T9" fmla="*/ 360 h 1314"/>
                <a:gd name="T10" fmla="*/ 1048 w 1501"/>
                <a:gd name="T11" fmla="*/ 1172 h 1314"/>
                <a:gd name="T12" fmla="*/ 751 w 1501"/>
                <a:gd name="T13" fmla="*/ 1251 h 1314"/>
                <a:gd name="T14" fmla="*/ 750 w 1501"/>
                <a:gd name="T15" fmla="*/ 0 h 1314"/>
                <a:gd name="T16" fmla="*/ 422 w 1501"/>
                <a:gd name="T17" fmla="*/ 88 h 1314"/>
                <a:gd name="T18" fmla="*/ 182 w 1501"/>
                <a:gd name="T19" fmla="*/ 986 h 1314"/>
                <a:gd name="T20" fmla="*/ 751 w 1501"/>
                <a:gd name="T21" fmla="*/ 1314 h 1314"/>
                <a:gd name="T22" fmla="*/ 1079 w 1501"/>
                <a:gd name="T23" fmla="*/ 1226 h 1314"/>
                <a:gd name="T24" fmla="*/ 1320 w 1501"/>
                <a:gd name="T25" fmla="*/ 329 h 1314"/>
                <a:gd name="T26" fmla="*/ 750 w 1501"/>
                <a:gd name="T27" fmla="*/ 0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1" h="1314">
                  <a:moveTo>
                    <a:pt x="751" y="1251"/>
                  </a:moveTo>
                  <a:cubicBezTo>
                    <a:pt x="546" y="1251"/>
                    <a:pt x="346" y="1145"/>
                    <a:pt x="236" y="954"/>
                  </a:cubicBezTo>
                  <a:cubicBezTo>
                    <a:pt x="72" y="670"/>
                    <a:pt x="169" y="307"/>
                    <a:pt x="454" y="143"/>
                  </a:cubicBezTo>
                  <a:cubicBezTo>
                    <a:pt x="547" y="89"/>
                    <a:pt x="649" y="63"/>
                    <a:pt x="750" y="63"/>
                  </a:cubicBezTo>
                  <a:cubicBezTo>
                    <a:pt x="955" y="63"/>
                    <a:pt x="1155" y="170"/>
                    <a:pt x="1265" y="360"/>
                  </a:cubicBezTo>
                  <a:cubicBezTo>
                    <a:pt x="1429" y="644"/>
                    <a:pt x="1332" y="1008"/>
                    <a:pt x="1048" y="1172"/>
                  </a:cubicBezTo>
                  <a:cubicBezTo>
                    <a:pt x="954" y="1226"/>
                    <a:pt x="852" y="1251"/>
                    <a:pt x="751" y="1251"/>
                  </a:cubicBezTo>
                  <a:moveTo>
                    <a:pt x="750" y="0"/>
                  </a:moveTo>
                  <a:cubicBezTo>
                    <a:pt x="639" y="0"/>
                    <a:pt x="526" y="29"/>
                    <a:pt x="422" y="88"/>
                  </a:cubicBezTo>
                  <a:cubicBezTo>
                    <a:pt x="108" y="270"/>
                    <a:pt x="0" y="672"/>
                    <a:pt x="182" y="986"/>
                  </a:cubicBezTo>
                  <a:cubicBezTo>
                    <a:pt x="303" y="1197"/>
                    <a:pt x="524" y="1314"/>
                    <a:pt x="751" y="1314"/>
                  </a:cubicBezTo>
                  <a:cubicBezTo>
                    <a:pt x="863" y="1314"/>
                    <a:pt x="976" y="1286"/>
                    <a:pt x="1079" y="1226"/>
                  </a:cubicBezTo>
                  <a:cubicBezTo>
                    <a:pt x="1393" y="1045"/>
                    <a:pt x="1501" y="643"/>
                    <a:pt x="1320" y="329"/>
                  </a:cubicBezTo>
                  <a:cubicBezTo>
                    <a:pt x="1198" y="118"/>
                    <a:pt x="977" y="0"/>
                    <a:pt x="750" y="0"/>
                  </a:cubicBezTo>
                </a:path>
              </a:pathLst>
            </a:custGeom>
            <a:solidFill>
              <a:srgbClr val="DEEA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 name="Freeform 8">
              <a:extLst>
                <a:ext uri="{FF2B5EF4-FFF2-40B4-BE49-F238E27FC236}">
                  <a16:creationId xmlns:a16="http://schemas.microsoft.com/office/drawing/2014/main" id="{805A3398-938A-4565-9471-81C0B75E20C7}"/>
                </a:ext>
                <a:ext uri="{C183D7F6-B498-43B3-948B-1728B52AA6E4}">
                  <adec:decorative xmlns:adec="http://schemas.microsoft.com/office/drawing/2017/decorative" val="1"/>
                </a:ext>
              </a:extLst>
            </p:cNvPr>
            <p:cNvSpPr>
              <a:spLocks noEditPoints="1"/>
            </p:cNvSpPr>
            <p:nvPr/>
          </p:nvSpPr>
          <p:spPr bwMode="auto">
            <a:xfrm>
              <a:off x="6639288" y="1702529"/>
              <a:ext cx="4222224" cy="3700865"/>
            </a:xfrm>
            <a:custGeom>
              <a:avLst/>
              <a:gdLst>
                <a:gd name="T0" fmla="*/ 679 w 1357"/>
                <a:gd name="T1" fmla="*/ 1126 h 1188"/>
                <a:gd name="T2" fmla="*/ 219 w 1357"/>
                <a:gd name="T3" fmla="*/ 860 h 1188"/>
                <a:gd name="T4" fmla="*/ 413 w 1357"/>
                <a:gd name="T5" fmla="*/ 134 h 1188"/>
                <a:gd name="T6" fmla="*/ 678 w 1357"/>
                <a:gd name="T7" fmla="*/ 63 h 1188"/>
                <a:gd name="T8" fmla="*/ 1139 w 1357"/>
                <a:gd name="T9" fmla="*/ 329 h 1188"/>
                <a:gd name="T10" fmla="*/ 944 w 1357"/>
                <a:gd name="T11" fmla="*/ 1054 h 1188"/>
                <a:gd name="T12" fmla="*/ 679 w 1357"/>
                <a:gd name="T13" fmla="*/ 1126 h 1188"/>
                <a:gd name="T14" fmla="*/ 678 w 1357"/>
                <a:gd name="T15" fmla="*/ 0 h 1188"/>
                <a:gd name="T16" fmla="*/ 382 w 1357"/>
                <a:gd name="T17" fmla="*/ 80 h 1188"/>
                <a:gd name="T18" fmla="*/ 164 w 1357"/>
                <a:gd name="T19" fmla="*/ 891 h 1188"/>
                <a:gd name="T20" fmla="*/ 679 w 1357"/>
                <a:gd name="T21" fmla="*/ 1188 h 1188"/>
                <a:gd name="T22" fmla="*/ 976 w 1357"/>
                <a:gd name="T23" fmla="*/ 1109 h 1188"/>
                <a:gd name="T24" fmla="*/ 1193 w 1357"/>
                <a:gd name="T25" fmla="*/ 297 h 1188"/>
                <a:gd name="T26" fmla="*/ 678 w 1357"/>
                <a:gd name="T27" fmla="*/ 0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7" h="1188">
                  <a:moveTo>
                    <a:pt x="679" y="1126"/>
                  </a:moveTo>
                  <a:cubicBezTo>
                    <a:pt x="496" y="1126"/>
                    <a:pt x="317" y="1030"/>
                    <a:pt x="219" y="860"/>
                  </a:cubicBezTo>
                  <a:cubicBezTo>
                    <a:pt x="72" y="606"/>
                    <a:pt x="159" y="281"/>
                    <a:pt x="413" y="134"/>
                  </a:cubicBezTo>
                  <a:cubicBezTo>
                    <a:pt x="497" y="86"/>
                    <a:pt x="588" y="63"/>
                    <a:pt x="678" y="63"/>
                  </a:cubicBezTo>
                  <a:cubicBezTo>
                    <a:pt x="862" y="63"/>
                    <a:pt x="1040" y="158"/>
                    <a:pt x="1139" y="329"/>
                  </a:cubicBezTo>
                  <a:cubicBezTo>
                    <a:pt x="1286" y="583"/>
                    <a:pt x="1198" y="908"/>
                    <a:pt x="944" y="1054"/>
                  </a:cubicBezTo>
                  <a:cubicBezTo>
                    <a:pt x="861" y="1103"/>
                    <a:pt x="769" y="1126"/>
                    <a:pt x="679" y="1126"/>
                  </a:cubicBezTo>
                  <a:moveTo>
                    <a:pt x="678" y="0"/>
                  </a:moveTo>
                  <a:cubicBezTo>
                    <a:pt x="577" y="0"/>
                    <a:pt x="475" y="26"/>
                    <a:pt x="382" y="80"/>
                  </a:cubicBezTo>
                  <a:cubicBezTo>
                    <a:pt x="97" y="244"/>
                    <a:pt x="0" y="607"/>
                    <a:pt x="164" y="891"/>
                  </a:cubicBezTo>
                  <a:cubicBezTo>
                    <a:pt x="274" y="1082"/>
                    <a:pt x="474" y="1188"/>
                    <a:pt x="679" y="1188"/>
                  </a:cubicBezTo>
                  <a:cubicBezTo>
                    <a:pt x="780" y="1188"/>
                    <a:pt x="882" y="1163"/>
                    <a:pt x="976" y="1109"/>
                  </a:cubicBezTo>
                  <a:cubicBezTo>
                    <a:pt x="1260" y="945"/>
                    <a:pt x="1357" y="581"/>
                    <a:pt x="1193" y="297"/>
                  </a:cubicBezTo>
                  <a:cubicBezTo>
                    <a:pt x="1083" y="107"/>
                    <a:pt x="883" y="0"/>
                    <a:pt x="678" y="0"/>
                  </a:cubicBezTo>
                </a:path>
              </a:pathLst>
            </a:custGeom>
            <a:solidFill>
              <a:srgbClr val="D1E3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9" name="Freeform 9">
              <a:extLst>
                <a:ext uri="{FF2B5EF4-FFF2-40B4-BE49-F238E27FC236}">
                  <a16:creationId xmlns:a16="http://schemas.microsoft.com/office/drawing/2014/main" id="{A99DD098-C4A3-4B80-9AF1-63E0378222F5}"/>
                </a:ext>
                <a:ext uri="{C183D7F6-B498-43B3-948B-1728B52AA6E4}">
                  <adec:decorative xmlns:adec="http://schemas.microsoft.com/office/drawing/2017/decorative" val="1"/>
                </a:ext>
              </a:extLst>
            </p:cNvPr>
            <p:cNvSpPr>
              <a:spLocks noEditPoints="1"/>
            </p:cNvSpPr>
            <p:nvPr/>
          </p:nvSpPr>
          <p:spPr bwMode="auto">
            <a:xfrm>
              <a:off x="6863395" y="1900179"/>
              <a:ext cx="3777124" cy="3308679"/>
            </a:xfrm>
            <a:custGeom>
              <a:avLst/>
              <a:gdLst>
                <a:gd name="T0" fmla="*/ 607 w 1214"/>
                <a:gd name="T1" fmla="*/ 1000 h 1063"/>
                <a:gd name="T2" fmla="*/ 201 w 1214"/>
                <a:gd name="T3" fmla="*/ 765 h 1063"/>
                <a:gd name="T4" fmla="*/ 372 w 1214"/>
                <a:gd name="T5" fmla="*/ 126 h 1063"/>
                <a:gd name="T6" fmla="*/ 606 w 1214"/>
                <a:gd name="T7" fmla="*/ 63 h 1063"/>
                <a:gd name="T8" fmla="*/ 1012 w 1214"/>
                <a:gd name="T9" fmla="*/ 297 h 1063"/>
                <a:gd name="T10" fmla="*/ 841 w 1214"/>
                <a:gd name="T11" fmla="*/ 937 h 1063"/>
                <a:gd name="T12" fmla="*/ 607 w 1214"/>
                <a:gd name="T13" fmla="*/ 1000 h 1063"/>
                <a:gd name="T14" fmla="*/ 606 w 1214"/>
                <a:gd name="T15" fmla="*/ 0 h 1063"/>
                <a:gd name="T16" fmla="*/ 341 w 1214"/>
                <a:gd name="T17" fmla="*/ 71 h 1063"/>
                <a:gd name="T18" fmla="*/ 147 w 1214"/>
                <a:gd name="T19" fmla="*/ 797 h 1063"/>
                <a:gd name="T20" fmla="*/ 607 w 1214"/>
                <a:gd name="T21" fmla="*/ 1063 h 1063"/>
                <a:gd name="T22" fmla="*/ 872 w 1214"/>
                <a:gd name="T23" fmla="*/ 991 h 1063"/>
                <a:gd name="T24" fmla="*/ 1067 w 1214"/>
                <a:gd name="T25" fmla="*/ 266 h 1063"/>
                <a:gd name="T26" fmla="*/ 606 w 1214"/>
                <a:gd name="T27" fmla="*/ 0 h 10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14" h="1063">
                  <a:moveTo>
                    <a:pt x="607" y="1000"/>
                  </a:moveTo>
                  <a:cubicBezTo>
                    <a:pt x="445" y="1000"/>
                    <a:pt x="288" y="916"/>
                    <a:pt x="201" y="765"/>
                  </a:cubicBezTo>
                  <a:cubicBezTo>
                    <a:pt x="72" y="541"/>
                    <a:pt x="148" y="255"/>
                    <a:pt x="372" y="126"/>
                  </a:cubicBezTo>
                  <a:cubicBezTo>
                    <a:pt x="446" y="83"/>
                    <a:pt x="527" y="63"/>
                    <a:pt x="606" y="63"/>
                  </a:cubicBezTo>
                  <a:cubicBezTo>
                    <a:pt x="768" y="63"/>
                    <a:pt x="926" y="147"/>
                    <a:pt x="1012" y="297"/>
                  </a:cubicBezTo>
                  <a:cubicBezTo>
                    <a:pt x="1142" y="521"/>
                    <a:pt x="1065" y="808"/>
                    <a:pt x="841" y="937"/>
                  </a:cubicBezTo>
                  <a:cubicBezTo>
                    <a:pt x="767" y="980"/>
                    <a:pt x="687" y="1000"/>
                    <a:pt x="607" y="1000"/>
                  </a:cubicBezTo>
                  <a:moveTo>
                    <a:pt x="606" y="0"/>
                  </a:moveTo>
                  <a:cubicBezTo>
                    <a:pt x="516" y="0"/>
                    <a:pt x="425" y="23"/>
                    <a:pt x="341" y="71"/>
                  </a:cubicBezTo>
                  <a:cubicBezTo>
                    <a:pt x="87" y="218"/>
                    <a:pt x="0" y="543"/>
                    <a:pt x="147" y="797"/>
                  </a:cubicBezTo>
                  <a:cubicBezTo>
                    <a:pt x="245" y="967"/>
                    <a:pt x="424" y="1063"/>
                    <a:pt x="607" y="1063"/>
                  </a:cubicBezTo>
                  <a:cubicBezTo>
                    <a:pt x="697" y="1063"/>
                    <a:pt x="789" y="1040"/>
                    <a:pt x="872" y="991"/>
                  </a:cubicBezTo>
                  <a:cubicBezTo>
                    <a:pt x="1126" y="845"/>
                    <a:pt x="1214" y="520"/>
                    <a:pt x="1067" y="266"/>
                  </a:cubicBezTo>
                  <a:cubicBezTo>
                    <a:pt x="968" y="95"/>
                    <a:pt x="790" y="0"/>
                    <a:pt x="606" y="0"/>
                  </a:cubicBezTo>
                </a:path>
              </a:pathLst>
            </a:custGeom>
            <a:solidFill>
              <a:srgbClr val="C4DC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10">
              <a:extLst>
                <a:ext uri="{FF2B5EF4-FFF2-40B4-BE49-F238E27FC236}">
                  <a16:creationId xmlns:a16="http://schemas.microsoft.com/office/drawing/2014/main" id="{A7BEB5CF-1AFB-485B-A8D4-ABBE54B0AF89}"/>
                </a:ext>
                <a:ext uri="{C183D7F6-B498-43B3-948B-1728B52AA6E4}">
                  <adec:decorative xmlns:adec="http://schemas.microsoft.com/office/drawing/2017/decorative" val="1"/>
                </a:ext>
              </a:extLst>
            </p:cNvPr>
            <p:cNvSpPr>
              <a:spLocks noEditPoints="1"/>
            </p:cNvSpPr>
            <p:nvPr/>
          </p:nvSpPr>
          <p:spPr bwMode="auto">
            <a:xfrm>
              <a:off x="7087501" y="2096272"/>
              <a:ext cx="3328911" cy="2916493"/>
            </a:xfrm>
            <a:custGeom>
              <a:avLst/>
              <a:gdLst>
                <a:gd name="T0" fmla="*/ 535 w 1070"/>
                <a:gd name="T1" fmla="*/ 874 h 937"/>
                <a:gd name="T2" fmla="*/ 183 w 1070"/>
                <a:gd name="T3" fmla="*/ 671 h 937"/>
                <a:gd name="T4" fmla="*/ 332 w 1070"/>
                <a:gd name="T5" fmla="*/ 117 h 937"/>
                <a:gd name="T6" fmla="*/ 534 w 1070"/>
                <a:gd name="T7" fmla="*/ 63 h 937"/>
                <a:gd name="T8" fmla="*/ 886 w 1070"/>
                <a:gd name="T9" fmla="*/ 265 h 937"/>
                <a:gd name="T10" fmla="*/ 738 w 1070"/>
                <a:gd name="T11" fmla="*/ 820 h 937"/>
                <a:gd name="T12" fmla="*/ 535 w 1070"/>
                <a:gd name="T13" fmla="*/ 874 h 937"/>
                <a:gd name="T14" fmla="*/ 534 w 1070"/>
                <a:gd name="T15" fmla="*/ 0 h 937"/>
                <a:gd name="T16" fmla="*/ 300 w 1070"/>
                <a:gd name="T17" fmla="*/ 63 h 937"/>
                <a:gd name="T18" fmla="*/ 129 w 1070"/>
                <a:gd name="T19" fmla="*/ 702 h 937"/>
                <a:gd name="T20" fmla="*/ 535 w 1070"/>
                <a:gd name="T21" fmla="*/ 937 h 937"/>
                <a:gd name="T22" fmla="*/ 769 w 1070"/>
                <a:gd name="T23" fmla="*/ 874 h 937"/>
                <a:gd name="T24" fmla="*/ 940 w 1070"/>
                <a:gd name="T25" fmla="*/ 234 h 937"/>
                <a:gd name="T26" fmla="*/ 534 w 1070"/>
                <a:gd name="T27"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0" h="937">
                  <a:moveTo>
                    <a:pt x="535" y="874"/>
                  </a:moveTo>
                  <a:cubicBezTo>
                    <a:pt x="395" y="874"/>
                    <a:pt x="259" y="801"/>
                    <a:pt x="183" y="671"/>
                  </a:cubicBezTo>
                  <a:cubicBezTo>
                    <a:pt x="71" y="477"/>
                    <a:pt x="138" y="229"/>
                    <a:pt x="332" y="117"/>
                  </a:cubicBezTo>
                  <a:cubicBezTo>
                    <a:pt x="396" y="80"/>
                    <a:pt x="466" y="63"/>
                    <a:pt x="534" y="63"/>
                  </a:cubicBezTo>
                  <a:cubicBezTo>
                    <a:pt x="675" y="63"/>
                    <a:pt x="811" y="135"/>
                    <a:pt x="886" y="265"/>
                  </a:cubicBezTo>
                  <a:cubicBezTo>
                    <a:pt x="998" y="459"/>
                    <a:pt x="932" y="708"/>
                    <a:pt x="738" y="820"/>
                  </a:cubicBezTo>
                  <a:cubicBezTo>
                    <a:pt x="674" y="856"/>
                    <a:pt x="604" y="874"/>
                    <a:pt x="535" y="874"/>
                  </a:cubicBezTo>
                  <a:moveTo>
                    <a:pt x="534" y="0"/>
                  </a:moveTo>
                  <a:cubicBezTo>
                    <a:pt x="455" y="0"/>
                    <a:pt x="374" y="20"/>
                    <a:pt x="300" y="63"/>
                  </a:cubicBezTo>
                  <a:cubicBezTo>
                    <a:pt x="76" y="192"/>
                    <a:pt x="0" y="478"/>
                    <a:pt x="129" y="702"/>
                  </a:cubicBezTo>
                  <a:cubicBezTo>
                    <a:pt x="216" y="853"/>
                    <a:pt x="373" y="937"/>
                    <a:pt x="535" y="937"/>
                  </a:cubicBezTo>
                  <a:cubicBezTo>
                    <a:pt x="615" y="937"/>
                    <a:pt x="695" y="917"/>
                    <a:pt x="769" y="874"/>
                  </a:cubicBezTo>
                  <a:cubicBezTo>
                    <a:pt x="993" y="745"/>
                    <a:pt x="1070" y="458"/>
                    <a:pt x="940" y="234"/>
                  </a:cubicBezTo>
                  <a:cubicBezTo>
                    <a:pt x="854" y="84"/>
                    <a:pt x="696" y="0"/>
                    <a:pt x="534" y="0"/>
                  </a:cubicBezTo>
                </a:path>
              </a:pathLst>
            </a:custGeom>
            <a:solidFill>
              <a:srgbClr val="B8D5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11" name="Freeform 11">
              <a:extLst>
                <a:ext uri="{FF2B5EF4-FFF2-40B4-BE49-F238E27FC236}">
                  <a16:creationId xmlns:a16="http://schemas.microsoft.com/office/drawing/2014/main" id="{D870376F-A7D6-4BE7-8393-617E193BFECD}"/>
                </a:ext>
                <a:ext uri="{C183D7F6-B498-43B3-948B-1728B52AA6E4}">
                  <adec:decorative xmlns:adec="http://schemas.microsoft.com/office/drawing/2017/decorative" val="1"/>
                </a:ext>
              </a:extLst>
            </p:cNvPr>
            <p:cNvSpPr>
              <a:spLocks noEditPoints="1"/>
            </p:cNvSpPr>
            <p:nvPr/>
          </p:nvSpPr>
          <p:spPr bwMode="auto">
            <a:xfrm>
              <a:off x="7308494" y="2292365"/>
              <a:ext cx="2883812" cy="2524307"/>
            </a:xfrm>
            <a:custGeom>
              <a:avLst/>
              <a:gdLst>
                <a:gd name="T0" fmla="*/ 464 w 927"/>
                <a:gd name="T1" fmla="*/ 748 h 811"/>
                <a:gd name="T2" fmla="*/ 167 w 927"/>
                <a:gd name="T3" fmla="*/ 577 h 811"/>
                <a:gd name="T4" fmla="*/ 292 w 927"/>
                <a:gd name="T5" fmla="*/ 108 h 811"/>
                <a:gd name="T6" fmla="*/ 463 w 927"/>
                <a:gd name="T7" fmla="*/ 62 h 811"/>
                <a:gd name="T8" fmla="*/ 761 w 927"/>
                <a:gd name="T9" fmla="*/ 234 h 811"/>
                <a:gd name="T10" fmla="*/ 635 w 927"/>
                <a:gd name="T11" fmla="*/ 702 h 811"/>
                <a:gd name="T12" fmla="*/ 464 w 927"/>
                <a:gd name="T13" fmla="*/ 748 h 811"/>
                <a:gd name="T14" fmla="*/ 463 w 927"/>
                <a:gd name="T15" fmla="*/ 0 h 811"/>
                <a:gd name="T16" fmla="*/ 261 w 927"/>
                <a:gd name="T17" fmla="*/ 54 h 811"/>
                <a:gd name="T18" fmla="*/ 112 w 927"/>
                <a:gd name="T19" fmla="*/ 608 h 811"/>
                <a:gd name="T20" fmla="*/ 464 w 927"/>
                <a:gd name="T21" fmla="*/ 811 h 811"/>
                <a:gd name="T22" fmla="*/ 667 w 927"/>
                <a:gd name="T23" fmla="*/ 757 h 811"/>
                <a:gd name="T24" fmla="*/ 815 w 927"/>
                <a:gd name="T25" fmla="*/ 202 h 811"/>
                <a:gd name="T26" fmla="*/ 463 w 927"/>
                <a:gd name="T27"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7" h="811">
                  <a:moveTo>
                    <a:pt x="464" y="748"/>
                  </a:moveTo>
                  <a:cubicBezTo>
                    <a:pt x="346" y="748"/>
                    <a:pt x="230" y="687"/>
                    <a:pt x="167" y="577"/>
                  </a:cubicBezTo>
                  <a:cubicBezTo>
                    <a:pt x="72" y="413"/>
                    <a:pt x="128" y="203"/>
                    <a:pt x="292" y="108"/>
                  </a:cubicBezTo>
                  <a:cubicBezTo>
                    <a:pt x="346" y="77"/>
                    <a:pt x="405" y="62"/>
                    <a:pt x="463" y="62"/>
                  </a:cubicBezTo>
                  <a:cubicBezTo>
                    <a:pt x="582" y="62"/>
                    <a:pt x="697" y="124"/>
                    <a:pt x="761" y="234"/>
                  </a:cubicBezTo>
                  <a:cubicBezTo>
                    <a:pt x="855" y="398"/>
                    <a:pt x="799" y="607"/>
                    <a:pt x="635" y="702"/>
                  </a:cubicBezTo>
                  <a:cubicBezTo>
                    <a:pt x="581" y="733"/>
                    <a:pt x="522" y="748"/>
                    <a:pt x="464" y="748"/>
                  </a:cubicBezTo>
                  <a:moveTo>
                    <a:pt x="463" y="0"/>
                  </a:moveTo>
                  <a:cubicBezTo>
                    <a:pt x="395" y="0"/>
                    <a:pt x="325" y="17"/>
                    <a:pt x="261" y="54"/>
                  </a:cubicBezTo>
                  <a:cubicBezTo>
                    <a:pt x="67" y="166"/>
                    <a:pt x="0" y="414"/>
                    <a:pt x="112" y="608"/>
                  </a:cubicBezTo>
                  <a:cubicBezTo>
                    <a:pt x="188" y="738"/>
                    <a:pt x="324" y="811"/>
                    <a:pt x="464" y="811"/>
                  </a:cubicBezTo>
                  <a:cubicBezTo>
                    <a:pt x="533" y="811"/>
                    <a:pt x="603" y="793"/>
                    <a:pt x="667" y="757"/>
                  </a:cubicBezTo>
                  <a:cubicBezTo>
                    <a:pt x="861" y="645"/>
                    <a:pt x="927" y="396"/>
                    <a:pt x="815" y="202"/>
                  </a:cubicBezTo>
                  <a:cubicBezTo>
                    <a:pt x="740" y="72"/>
                    <a:pt x="604" y="0"/>
                    <a:pt x="463" y="0"/>
                  </a:cubicBezTo>
                </a:path>
              </a:pathLst>
            </a:custGeom>
            <a:solidFill>
              <a:srgbClr val="ABCF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12" name="Freeform 12">
              <a:extLst>
                <a:ext uri="{FF2B5EF4-FFF2-40B4-BE49-F238E27FC236}">
                  <a16:creationId xmlns:a16="http://schemas.microsoft.com/office/drawing/2014/main" id="{8527432B-8D8F-4352-A520-C60BAA490F3D}"/>
                </a:ext>
                <a:ext uri="{C183D7F6-B498-43B3-948B-1728B52AA6E4}">
                  <adec:decorative xmlns:adec="http://schemas.microsoft.com/office/drawing/2017/decorative" val="1"/>
                </a:ext>
              </a:extLst>
            </p:cNvPr>
            <p:cNvSpPr>
              <a:spLocks/>
            </p:cNvSpPr>
            <p:nvPr/>
          </p:nvSpPr>
          <p:spPr bwMode="auto">
            <a:xfrm>
              <a:off x="7532601" y="2485344"/>
              <a:ext cx="2435599" cy="2135234"/>
            </a:xfrm>
            <a:custGeom>
              <a:avLst/>
              <a:gdLst>
                <a:gd name="T0" fmla="*/ 391 w 783"/>
                <a:gd name="T1" fmla="*/ 0 h 686"/>
                <a:gd name="T2" fmla="*/ 220 w 783"/>
                <a:gd name="T3" fmla="*/ 46 h 686"/>
                <a:gd name="T4" fmla="*/ 95 w 783"/>
                <a:gd name="T5" fmla="*/ 515 h 686"/>
                <a:gd name="T6" fmla="*/ 392 w 783"/>
                <a:gd name="T7" fmla="*/ 686 h 686"/>
                <a:gd name="T8" fmla="*/ 563 w 783"/>
                <a:gd name="T9" fmla="*/ 640 h 686"/>
                <a:gd name="T10" fmla="*/ 689 w 783"/>
                <a:gd name="T11" fmla="*/ 172 h 686"/>
                <a:gd name="T12" fmla="*/ 391 w 783"/>
                <a:gd name="T13" fmla="*/ 0 h 686"/>
              </a:gdLst>
              <a:ahLst/>
              <a:cxnLst>
                <a:cxn ang="0">
                  <a:pos x="T0" y="T1"/>
                </a:cxn>
                <a:cxn ang="0">
                  <a:pos x="T2" y="T3"/>
                </a:cxn>
                <a:cxn ang="0">
                  <a:pos x="T4" y="T5"/>
                </a:cxn>
                <a:cxn ang="0">
                  <a:pos x="T6" y="T7"/>
                </a:cxn>
                <a:cxn ang="0">
                  <a:pos x="T8" y="T9"/>
                </a:cxn>
                <a:cxn ang="0">
                  <a:pos x="T10" y="T11"/>
                </a:cxn>
                <a:cxn ang="0">
                  <a:pos x="T12" y="T13"/>
                </a:cxn>
              </a:cxnLst>
              <a:rect l="0" t="0" r="r" b="b"/>
              <a:pathLst>
                <a:path w="783" h="686">
                  <a:moveTo>
                    <a:pt x="391" y="0"/>
                  </a:moveTo>
                  <a:cubicBezTo>
                    <a:pt x="333" y="0"/>
                    <a:pt x="274" y="15"/>
                    <a:pt x="220" y="46"/>
                  </a:cubicBezTo>
                  <a:cubicBezTo>
                    <a:pt x="56" y="141"/>
                    <a:pt x="0" y="351"/>
                    <a:pt x="95" y="515"/>
                  </a:cubicBezTo>
                  <a:cubicBezTo>
                    <a:pt x="158" y="625"/>
                    <a:pt x="274" y="686"/>
                    <a:pt x="392" y="686"/>
                  </a:cubicBezTo>
                  <a:cubicBezTo>
                    <a:pt x="450" y="686"/>
                    <a:pt x="509" y="671"/>
                    <a:pt x="563" y="640"/>
                  </a:cubicBezTo>
                  <a:cubicBezTo>
                    <a:pt x="727" y="545"/>
                    <a:pt x="783" y="336"/>
                    <a:pt x="689" y="172"/>
                  </a:cubicBezTo>
                  <a:cubicBezTo>
                    <a:pt x="625" y="62"/>
                    <a:pt x="510" y="0"/>
                    <a:pt x="391" y="0"/>
                  </a:cubicBezTo>
                </a:path>
              </a:pathLst>
            </a:custGeom>
            <a:solidFill>
              <a:srgbClr val="9E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FEAD2111-0A94-4717-A59C-3B9A7B036897}"/>
                </a:ext>
                <a:ext uri="{C183D7F6-B498-43B3-948B-1728B52AA6E4}">
                  <adec:decorative xmlns:adec="http://schemas.microsoft.com/office/drawing/2017/decorative" val="1"/>
                </a:ext>
              </a:extLst>
            </p:cNvPr>
            <p:cNvGrpSpPr/>
            <p:nvPr/>
          </p:nvGrpSpPr>
          <p:grpSpPr>
            <a:xfrm>
              <a:off x="6021440" y="507296"/>
              <a:ext cx="5457920" cy="6094445"/>
              <a:chOff x="5661025" y="631825"/>
              <a:chExt cx="5567363" cy="6216651"/>
            </a:xfrm>
          </p:grpSpPr>
          <p:sp>
            <p:nvSpPr>
              <p:cNvPr id="93" name="Oval 15">
                <a:extLst>
                  <a:ext uri="{FF2B5EF4-FFF2-40B4-BE49-F238E27FC236}">
                    <a16:creationId xmlns:a16="http://schemas.microsoft.com/office/drawing/2014/main" id="{4BCB9222-20BE-46A5-985F-35573A3B1D80}"/>
                  </a:ext>
                </a:extLst>
              </p:cNvPr>
              <p:cNvSpPr>
                <a:spLocks noChangeArrowheads="1"/>
              </p:cNvSpPr>
              <p:nvPr/>
            </p:nvSpPr>
            <p:spPr bwMode="auto">
              <a:xfrm>
                <a:off x="7748588" y="631825"/>
                <a:ext cx="1397000" cy="1398588"/>
              </a:xfrm>
              <a:prstGeom prst="ellipse">
                <a:avLst/>
              </a:prstGeom>
              <a:solidFill>
                <a:schemeClr val="bg1"/>
              </a:solidFill>
              <a:ln>
                <a:noFill/>
              </a:ln>
            </p:spPr>
            <p:txBody>
              <a:bodyPr vert="horz" wrap="non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4"/>
                    </a:solidFill>
                    <a:effectLst/>
                    <a:uLnTx/>
                    <a:uFillTx/>
                    <a:latin typeface="Segoe UI"/>
                    <a:ea typeface="+mn-ea"/>
                    <a:cs typeface="+mn-cs"/>
                  </a:rPr>
                  <a:t>Product</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altLang="en-US" sz="1372" b="0" i="0" u="none" strike="noStrike" kern="1200" cap="none" spc="0" normalizeH="0" baseline="0" noProof="0">
                    <a:ln>
                      <a:noFill/>
                    </a:ln>
                    <a:solidFill>
                      <a:srgbClr val="0078D4"/>
                    </a:solidFill>
                    <a:effectLst/>
                    <a:uLnTx/>
                    <a:uFillTx/>
                    <a:latin typeface="Segoe UI"/>
                    <a:ea typeface="+mn-ea"/>
                    <a:cs typeface="+mn-cs"/>
                  </a:rPr>
                  <a:t>telemetry</a:t>
                </a:r>
              </a:p>
            </p:txBody>
          </p:sp>
          <p:sp>
            <p:nvSpPr>
              <p:cNvPr id="94" name="Oval 18">
                <a:extLst>
                  <a:ext uri="{FF2B5EF4-FFF2-40B4-BE49-F238E27FC236}">
                    <a16:creationId xmlns:a16="http://schemas.microsoft.com/office/drawing/2014/main" id="{1EC25C9B-E1BE-48FE-8EB8-CEE88083D34E}"/>
                  </a:ext>
                </a:extLst>
              </p:cNvPr>
              <p:cNvSpPr>
                <a:spLocks noChangeArrowheads="1"/>
              </p:cNvSpPr>
              <p:nvPr/>
            </p:nvSpPr>
            <p:spPr bwMode="auto">
              <a:xfrm>
                <a:off x="7748588" y="5449888"/>
                <a:ext cx="1397000" cy="1398588"/>
              </a:xfrm>
              <a:prstGeom prst="ellipse">
                <a:avLst/>
              </a:prstGeom>
              <a:solidFill>
                <a:schemeClr val="bg1"/>
              </a:solidFill>
              <a:ln>
                <a:noFill/>
              </a:ln>
            </p:spPr>
            <p:txBody>
              <a:bodyPr vert="horz" wrap="non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0078D4"/>
                    </a:solidFill>
                    <a:effectLst/>
                    <a:uLnTx/>
                    <a:uFillTx/>
                    <a:latin typeface="Segoe UI"/>
                    <a:ea typeface="+mn-ea"/>
                    <a:cs typeface="+mn-cs"/>
                  </a:rPr>
                  <a:t>Commerce</a:t>
                </a:r>
                <a:endParaRPr kumimoji="0" lang="en-US" sz="1372" b="0" i="0" u="none" strike="noStrike" kern="1200" cap="none" spc="0" normalizeH="0" baseline="0" noProof="0">
                  <a:ln>
                    <a:noFill/>
                  </a:ln>
                  <a:solidFill>
                    <a:srgbClr val="0078D4"/>
                  </a:solidFill>
                  <a:effectLst/>
                  <a:uLnTx/>
                  <a:uFillTx/>
                  <a:latin typeface="Segoe UI"/>
                  <a:ea typeface="+mn-ea"/>
                  <a:cs typeface="+mn-cs"/>
                </a:endParaRPr>
              </a:p>
            </p:txBody>
          </p:sp>
          <p:sp>
            <p:nvSpPr>
              <p:cNvPr id="95" name="Freeform 13">
                <a:extLst>
                  <a:ext uri="{FF2B5EF4-FFF2-40B4-BE49-F238E27FC236}">
                    <a16:creationId xmlns:a16="http://schemas.microsoft.com/office/drawing/2014/main" id="{4B39C344-FF4A-49F9-AB2B-E75B87C95825}"/>
                  </a:ext>
                </a:extLst>
              </p:cNvPr>
              <p:cNvSpPr>
                <a:spLocks/>
              </p:cNvSpPr>
              <p:nvPr/>
            </p:nvSpPr>
            <p:spPr bwMode="auto">
              <a:xfrm>
                <a:off x="9831388" y="1835150"/>
                <a:ext cx="1397000" cy="1398588"/>
              </a:xfrm>
              <a:prstGeom prst="ellipse">
                <a:avLst/>
              </a:prstGeom>
              <a:solidFill>
                <a:schemeClr val="bg1"/>
              </a:solidFill>
              <a:ln>
                <a:noFill/>
              </a:ln>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a:ea typeface="+mn-ea"/>
                    <a:cs typeface="+mn-cs"/>
                  </a:rPr>
                  <a:t>Marketing</a:t>
                </a:r>
              </a:p>
            </p:txBody>
          </p:sp>
          <p:sp>
            <p:nvSpPr>
              <p:cNvPr id="96" name="Freeform 17">
                <a:extLst>
                  <a:ext uri="{FF2B5EF4-FFF2-40B4-BE49-F238E27FC236}">
                    <a16:creationId xmlns:a16="http://schemas.microsoft.com/office/drawing/2014/main" id="{E21BB867-9681-43B1-8A7B-355BFC7055D6}"/>
                  </a:ext>
                </a:extLst>
              </p:cNvPr>
              <p:cNvSpPr>
                <a:spLocks/>
              </p:cNvSpPr>
              <p:nvPr/>
            </p:nvSpPr>
            <p:spPr bwMode="auto">
              <a:xfrm>
                <a:off x="5661025" y="4244975"/>
                <a:ext cx="1397000" cy="1398588"/>
              </a:xfrm>
              <a:prstGeom prst="ellipse">
                <a:avLst/>
              </a:prstGeom>
              <a:solidFill>
                <a:schemeClr val="bg1"/>
              </a:solidFill>
              <a:ln>
                <a:noFill/>
              </a:ln>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a:ea typeface="+mn-ea"/>
                    <a:cs typeface="+mn-cs"/>
                  </a:rPr>
                  <a:t>Supply</a:t>
                </a:r>
                <a:br>
                  <a:rPr kumimoji="0" lang="en-US" sz="1372" b="0" i="0" u="none" strike="noStrike" kern="1200" cap="none" spc="0" normalizeH="0" baseline="0" noProof="0">
                    <a:ln>
                      <a:noFill/>
                    </a:ln>
                    <a:solidFill>
                      <a:srgbClr val="0078D4"/>
                    </a:solidFill>
                    <a:effectLst/>
                    <a:uLnTx/>
                    <a:uFillTx/>
                    <a:latin typeface="Segoe UI"/>
                    <a:ea typeface="+mn-ea"/>
                    <a:cs typeface="+mn-cs"/>
                  </a:rPr>
                </a:br>
                <a:r>
                  <a:rPr kumimoji="0" lang="en-US" sz="1372" b="0" i="0" u="none" strike="noStrike" kern="1200" cap="none" spc="0" normalizeH="0" baseline="0" noProof="0">
                    <a:ln>
                      <a:noFill/>
                    </a:ln>
                    <a:solidFill>
                      <a:srgbClr val="0078D4"/>
                    </a:solidFill>
                    <a:effectLst/>
                    <a:uLnTx/>
                    <a:uFillTx/>
                    <a:latin typeface="Segoe UI"/>
                    <a:ea typeface="+mn-ea"/>
                    <a:cs typeface="+mn-cs"/>
                  </a:rPr>
                  <a:t>Chain</a:t>
                </a:r>
              </a:p>
            </p:txBody>
          </p:sp>
          <p:sp>
            <p:nvSpPr>
              <p:cNvPr id="97" name="Freeform 19">
                <a:extLst>
                  <a:ext uri="{FF2B5EF4-FFF2-40B4-BE49-F238E27FC236}">
                    <a16:creationId xmlns:a16="http://schemas.microsoft.com/office/drawing/2014/main" id="{71B75F91-35F4-4832-BEF3-1DF4C2B02EED}"/>
                  </a:ext>
                </a:extLst>
              </p:cNvPr>
              <p:cNvSpPr>
                <a:spLocks/>
              </p:cNvSpPr>
              <p:nvPr/>
            </p:nvSpPr>
            <p:spPr bwMode="auto">
              <a:xfrm>
                <a:off x="9831388" y="4244975"/>
                <a:ext cx="1397000" cy="1398588"/>
              </a:xfrm>
              <a:prstGeom prst="ellipse">
                <a:avLst/>
              </a:prstGeom>
              <a:solidFill>
                <a:schemeClr val="bg1"/>
              </a:solidFill>
              <a:ln>
                <a:noFill/>
              </a:ln>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a:ea typeface="+mn-ea"/>
                    <a:cs typeface="+mn-cs"/>
                  </a:rPr>
                  <a:t>Sales</a:t>
                </a:r>
              </a:p>
            </p:txBody>
          </p:sp>
          <p:sp>
            <p:nvSpPr>
              <p:cNvPr id="98" name="Freeform 16">
                <a:extLst>
                  <a:ext uri="{FF2B5EF4-FFF2-40B4-BE49-F238E27FC236}">
                    <a16:creationId xmlns:a16="http://schemas.microsoft.com/office/drawing/2014/main" id="{089268AB-20F4-4948-AF26-9084283FDC6C}"/>
                  </a:ext>
                </a:extLst>
              </p:cNvPr>
              <p:cNvSpPr>
                <a:spLocks/>
              </p:cNvSpPr>
              <p:nvPr/>
            </p:nvSpPr>
            <p:spPr bwMode="auto">
              <a:xfrm>
                <a:off x="5661025" y="1835150"/>
                <a:ext cx="1397000" cy="1398588"/>
              </a:xfrm>
              <a:prstGeom prst="ellipse">
                <a:avLst/>
              </a:prstGeom>
              <a:solidFill>
                <a:schemeClr val="bg1"/>
              </a:solidFill>
              <a:ln>
                <a:noFill/>
              </a:ln>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0078D4"/>
                    </a:solidFill>
                    <a:effectLst/>
                    <a:uLnTx/>
                    <a:uFillTx/>
                    <a:latin typeface="Segoe UI"/>
                    <a:ea typeface="+mn-ea"/>
                    <a:cs typeface="+mn-cs"/>
                  </a:rPr>
                  <a:t>Support</a:t>
                </a:r>
              </a:p>
            </p:txBody>
          </p:sp>
        </p:grpSp>
        <p:sp>
          <p:nvSpPr>
            <p:cNvPr id="14" name="Oval 15">
              <a:extLst>
                <a:ext uri="{FF2B5EF4-FFF2-40B4-BE49-F238E27FC236}">
                  <a16:creationId xmlns:a16="http://schemas.microsoft.com/office/drawing/2014/main" id="{B57A9CF4-EBE4-4F50-B6FD-3965ABD4A78C}"/>
                </a:ext>
              </a:extLst>
            </p:cNvPr>
            <p:cNvSpPr>
              <a:spLocks noChangeArrowheads="1"/>
            </p:cNvSpPr>
            <p:nvPr/>
          </p:nvSpPr>
          <p:spPr bwMode="auto">
            <a:xfrm>
              <a:off x="8067965" y="507295"/>
              <a:ext cx="1369538" cy="1371095"/>
            </a:xfrm>
            <a:prstGeom prst="ellipse">
              <a:avLst/>
            </a:prstGeom>
            <a:solidFill>
              <a:srgbClr val="0070C0"/>
            </a:solidFill>
            <a:ln>
              <a:noFill/>
            </a:ln>
          </p:spPr>
          <p:txBody>
            <a:bodyPr vert="horz" wrap="non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FFFFFF"/>
                  </a:solidFill>
                  <a:effectLst/>
                  <a:uLnTx/>
                  <a:uFillTx/>
                  <a:latin typeface="Segoe UI"/>
                  <a:ea typeface="+mn-ea"/>
                  <a:cs typeface="+mn-cs"/>
                </a:rPr>
                <a:t>Engineering</a:t>
              </a:r>
            </a:p>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FFFFFF"/>
                  </a:solidFill>
                  <a:effectLst/>
                  <a:uLnTx/>
                  <a:uFillTx/>
                  <a:latin typeface="Segoe UI"/>
                  <a:ea typeface="+mn-ea"/>
                  <a:cs typeface="+mn-cs"/>
                </a:rPr>
                <a:t>(Products)</a:t>
              </a:r>
            </a:p>
          </p:txBody>
        </p:sp>
        <p:sp>
          <p:nvSpPr>
            <p:cNvPr id="15" name="Oval 18">
              <a:extLst>
                <a:ext uri="{FF2B5EF4-FFF2-40B4-BE49-F238E27FC236}">
                  <a16:creationId xmlns:a16="http://schemas.microsoft.com/office/drawing/2014/main" id="{99B77F81-5CB2-4489-A4EE-5E8CDE50639D}"/>
                </a:ext>
              </a:extLst>
            </p:cNvPr>
            <p:cNvSpPr>
              <a:spLocks noChangeArrowheads="1"/>
            </p:cNvSpPr>
            <p:nvPr/>
          </p:nvSpPr>
          <p:spPr bwMode="auto">
            <a:xfrm>
              <a:off x="8067965" y="5230645"/>
              <a:ext cx="1369538" cy="137109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altLang="en-US" sz="1372" b="0" i="0" u="none" strike="noStrike" kern="1200" cap="none" spc="0" normalizeH="0" baseline="0" noProof="0">
                  <a:ln>
                    <a:noFill/>
                  </a:ln>
                  <a:solidFill>
                    <a:srgbClr val="FFFFFF"/>
                  </a:solidFill>
                  <a:effectLst/>
                  <a:uLnTx/>
                  <a:uFillTx/>
                  <a:latin typeface="Segoe UI"/>
                  <a:ea typeface="+mn-ea"/>
                  <a:cs typeface="+mn-cs"/>
                </a:rPr>
                <a:t>Procurement</a:t>
              </a:r>
              <a:endParaRPr kumimoji="0" lang="en-US" sz="1372" b="0" i="0" u="none" strike="noStrike" kern="1200" cap="none" spc="0" normalizeH="0" baseline="0" noProof="0">
                <a:ln>
                  <a:noFill/>
                </a:ln>
                <a:solidFill>
                  <a:srgbClr val="FFFFFF"/>
                </a:solidFill>
                <a:effectLst/>
                <a:uLnTx/>
                <a:uFillTx/>
                <a:latin typeface="Segoe UI"/>
                <a:ea typeface="+mn-ea"/>
                <a:cs typeface="+mn-cs"/>
              </a:endParaRPr>
            </a:p>
          </p:txBody>
        </p:sp>
        <p:grpSp>
          <p:nvGrpSpPr>
            <p:cNvPr id="16" name="Group 15">
              <a:extLst>
                <a:ext uri="{FF2B5EF4-FFF2-40B4-BE49-F238E27FC236}">
                  <a16:creationId xmlns:a16="http://schemas.microsoft.com/office/drawing/2014/main" id="{D279FFC0-C5BE-4813-B2CA-0E0AE66C0BF0}"/>
                </a:ext>
                <a:ext uri="{C183D7F6-B498-43B3-948B-1728B52AA6E4}">
                  <adec:decorative xmlns:adec="http://schemas.microsoft.com/office/drawing/2017/decorative" val="1"/>
                </a:ext>
              </a:extLst>
            </p:cNvPr>
            <p:cNvGrpSpPr/>
            <p:nvPr/>
          </p:nvGrpSpPr>
          <p:grpSpPr>
            <a:xfrm>
              <a:off x="11110519" y="3014485"/>
              <a:ext cx="99603" cy="1067617"/>
              <a:chOff x="10699751" y="3036888"/>
              <a:chExt cx="101600" cy="1089025"/>
            </a:xfrm>
          </p:grpSpPr>
          <p:sp>
            <p:nvSpPr>
              <p:cNvPr id="91" name="Freeform 30">
                <a:extLst>
                  <a:ext uri="{FF2B5EF4-FFF2-40B4-BE49-F238E27FC236}">
                    <a16:creationId xmlns:a16="http://schemas.microsoft.com/office/drawing/2014/main" id="{85FA2258-887B-46B7-9D6C-66F7C06F10F3}"/>
                  </a:ext>
                </a:extLst>
              </p:cNvPr>
              <p:cNvSpPr>
                <a:spLocks/>
              </p:cNvSpPr>
              <p:nvPr/>
            </p:nvSpPr>
            <p:spPr bwMode="auto">
              <a:xfrm>
                <a:off x="10699751" y="3036888"/>
                <a:ext cx="69850" cy="53975"/>
              </a:xfrm>
              <a:custGeom>
                <a:avLst/>
                <a:gdLst>
                  <a:gd name="T0" fmla="*/ 9 w 22"/>
                  <a:gd name="T1" fmla="*/ 0 h 17"/>
                  <a:gd name="T2" fmla="*/ 21 w 22"/>
                  <a:gd name="T3" fmla="*/ 8 h 17"/>
                  <a:gd name="T4" fmla="*/ 21 w 22"/>
                  <a:gd name="T5" fmla="*/ 12 h 17"/>
                  <a:gd name="T6" fmla="*/ 17 w 22"/>
                  <a:gd name="T7" fmla="*/ 13 h 17"/>
                  <a:gd name="T8" fmla="*/ 11 w 22"/>
                  <a:gd name="T9" fmla="*/ 8 h 17"/>
                  <a:gd name="T10" fmla="*/ 6 w 22"/>
                  <a:gd name="T11" fmla="*/ 15 h 17"/>
                  <a:gd name="T12" fmla="*/ 2 w 22"/>
                  <a:gd name="T13" fmla="*/ 16 h 17"/>
                  <a:gd name="T14" fmla="*/ 1 w 22"/>
                  <a:gd name="T15" fmla="*/ 12 h 17"/>
                  <a:gd name="T16" fmla="*/ 9 w 2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9" y="0"/>
                    </a:moveTo>
                    <a:cubicBezTo>
                      <a:pt x="21" y="8"/>
                      <a:pt x="21" y="8"/>
                      <a:pt x="21" y="8"/>
                    </a:cubicBezTo>
                    <a:cubicBezTo>
                      <a:pt x="22" y="9"/>
                      <a:pt x="22" y="11"/>
                      <a:pt x="21" y="12"/>
                    </a:cubicBezTo>
                    <a:cubicBezTo>
                      <a:pt x="21" y="13"/>
                      <a:pt x="19" y="14"/>
                      <a:pt x="17" y="13"/>
                    </a:cubicBezTo>
                    <a:cubicBezTo>
                      <a:pt x="11" y="8"/>
                      <a:pt x="11" y="8"/>
                      <a:pt x="11" y="8"/>
                    </a:cubicBezTo>
                    <a:cubicBezTo>
                      <a:pt x="6" y="15"/>
                      <a:pt x="6" y="15"/>
                      <a:pt x="6" y="15"/>
                    </a:cubicBezTo>
                    <a:cubicBezTo>
                      <a:pt x="5" y="17"/>
                      <a:pt x="3" y="17"/>
                      <a:pt x="2" y="16"/>
                    </a:cubicBezTo>
                    <a:cubicBezTo>
                      <a:pt x="1" y="15"/>
                      <a:pt x="0" y="13"/>
                      <a:pt x="1" y="12"/>
                    </a:cubicBezTo>
                    <a:lnTo>
                      <a:pt x="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92" name="Freeform 32">
                <a:extLst>
                  <a:ext uri="{FF2B5EF4-FFF2-40B4-BE49-F238E27FC236}">
                    <a16:creationId xmlns:a16="http://schemas.microsoft.com/office/drawing/2014/main" id="{D57DFF01-1C3A-4F82-BDF8-76A3A00634C8}"/>
                  </a:ext>
                </a:extLst>
              </p:cNvPr>
              <p:cNvSpPr>
                <a:spLocks noEditPoints="1"/>
              </p:cNvSpPr>
              <p:nvPr/>
            </p:nvSpPr>
            <p:spPr bwMode="auto">
              <a:xfrm>
                <a:off x="10718801" y="3113088"/>
                <a:ext cx="82550" cy="1012825"/>
              </a:xfrm>
              <a:custGeom>
                <a:avLst/>
                <a:gdLst>
                  <a:gd name="T0" fmla="*/ 1 w 26"/>
                  <a:gd name="T1" fmla="*/ 314 h 319"/>
                  <a:gd name="T2" fmla="*/ 8 w 26"/>
                  <a:gd name="T3" fmla="*/ 316 h 319"/>
                  <a:gd name="T4" fmla="*/ 4 w 26"/>
                  <a:gd name="T5" fmla="*/ 319 h 319"/>
                  <a:gd name="T6" fmla="*/ 5 w 26"/>
                  <a:gd name="T7" fmla="*/ 290 h 319"/>
                  <a:gd name="T8" fmla="*/ 13 w 26"/>
                  <a:gd name="T9" fmla="*/ 292 h 319"/>
                  <a:gd name="T10" fmla="*/ 9 w 26"/>
                  <a:gd name="T11" fmla="*/ 295 h 319"/>
                  <a:gd name="T12" fmla="*/ 13 w 26"/>
                  <a:gd name="T13" fmla="*/ 271 h 319"/>
                  <a:gd name="T14" fmla="*/ 14 w 26"/>
                  <a:gd name="T15" fmla="*/ 264 h 319"/>
                  <a:gd name="T16" fmla="*/ 13 w 26"/>
                  <a:gd name="T17" fmla="*/ 271 h 319"/>
                  <a:gd name="T18" fmla="*/ 12 w 26"/>
                  <a:gd name="T19" fmla="*/ 243 h 319"/>
                  <a:gd name="T20" fmla="*/ 20 w 26"/>
                  <a:gd name="T21" fmla="*/ 244 h 319"/>
                  <a:gd name="T22" fmla="*/ 18 w 26"/>
                  <a:gd name="T23" fmla="*/ 224 h 319"/>
                  <a:gd name="T24" fmla="*/ 19 w 26"/>
                  <a:gd name="T25" fmla="*/ 216 h 319"/>
                  <a:gd name="T26" fmla="*/ 19 w 26"/>
                  <a:gd name="T27" fmla="*/ 224 h 319"/>
                  <a:gd name="T28" fmla="*/ 20 w 26"/>
                  <a:gd name="T29" fmla="*/ 200 h 319"/>
                  <a:gd name="T30" fmla="*/ 21 w 26"/>
                  <a:gd name="T31" fmla="*/ 192 h 319"/>
                  <a:gd name="T32" fmla="*/ 21 w 26"/>
                  <a:gd name="T33" fmla="*/ 200 h 319"/>
                  <a:gd name="T34" fmla="*/ 21 w 26"/>
                  <a:gd name="T35" fmla="*/ 176 h 319"/>
                  <a:gd name="T36" fmla="*/ 22 w 26"/>
                  <a:gd name="T37" fmla="*/ 168 h 319"/>
                  <a:gd name="T38" fmla="*/ 22 w 26"/>
                  <a:gd name="T39" fmla="*/ 176 h 319"/>
                  <a:gd name="T40" fmla="*/ 18 w 26"/>
                  <a:gd name="T41" fmla="*/ 148 h 319"/>
                  <a:gd name="T42" fmla="*/ 26 w 26"/>
                  <a:gd name="T43" fmla="*/ 148 h 319"/>
                  <a:gd name="T44" fmla="*/ 18 w 26"/>
                  <a:gd name="T45" fmla="*/ 148 h 319"/>
                  <a:gd name="T46" fmla="*/ 21 w 26"/>
                  <a:gd name="T47" fmla="*/ 120 h 319"/>
                  <a:gd name="T48" fmla="*/ 22 w 26"/>
                  <a:gd name="T49" fmla="*/ 128 h 319"/>
                  <a:gd name="T50" fmla="*/ 17 w 26"/>
                  <a:gd name="T51" fmla="*/ 124 h 319"/>
                  <a:gd name="T52" fmla="*/ 20 w 26"/>
                  <a:gd name="T53" fmla="*/ 96 h 319"/>
                  <a:gd name="T54" fmla="*/ 21 w 26"/>
                  <a:gd name="T55" fmla="*/ 104 h 319"/>
                  <a:gd name="T56" fmla="*/ 16 w 26"/>
                  <a:gd name="T57" fmla="*/ 100 h 319"/>
                  <a:gd name="T58" fmla="*/ 18 w 26"/>
                  <a:gd name="T59" fmla="*/ 72 h 319"/>
                  <a:gd name="T60" fmla="*/ 19 w 26"/>
                  <a:gd name="T61" fmla="*/ 80 h 319"/>
                  <a:gd name="T62" fmla="*/ 15 w 26"/>
                  <a:gd name="T63" fmla="*/ 76 h 319"/>
                  <a:gd name="T64" fmla="*/ 12 w 26"/>
                  <a:gd name="T65" fmla="*/ 53 h 319"/>
                  <a:gd name="T66" fmla="*/ 20 w 26"/>
                  <a:gd name="T67" fmla="*/ 52 h 319"/>
                  <a:gd name="T68" fmla="*/ 16 w 26"/>
                  <a:gd name="T69" fmla="*/ 56 h 319"/>
                  <a:gd name="T70" fmla="*/ 9 w 26"/>
                  <a:gd name="T71" fmla="*/ 29 h 319"/>
                  <a:gd name="T72" fmla="*/ 17 w 26"/>
                  <a:gd name="T73" fmla="*/ 28 h 319"/>
                  <a:gd name="T74" fmla="*/ 13 w 26"/>
                  <a:gd name="T75" fmla="*/ 32 h 319"/>
                  <a:gd name="T76" fmla="*/ 5 w 26"/>
                  <a:gd name="T77" fmla="*/ 5 h 319"/>
                  <a:gd name="T78" fmla="*/ 13 w 26"/>
                  <a:gd name="T79" fmla="*/ 4 h 319"/>
                  <a:gd name="T80" fmla="*/ 9 w 26"/>
                  <a:gd name="T81" fmla="*/ 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319">
                    <a:moveTo>
                      <a:pt x="4" y="319"/>
                    </a:moveTo>
                    <a:cubicBezTo>
                      <a:pt x="2" y="318"/>
                      <a:pt x="0" y="316"/>
                      <a:pt x="1" y="314"/>
                    </a:cubicBezTo>
                    <a:cubicBezTo>
                      <a:pt x="1" y="312"/>
                      <a:pt x="3" y="310"/>
                      <a:pt x="5" y="311"/>
                    </a:cubicBezTo>
                    <a:cubicBezTo>
                      <a:pt x="8" y="311"/>
                      <a:pt x="9" y="313"/>
                      <a:pt x="8" y="316"/>
                    </a:cubicBezTo>
                    <a:cubicBezTo>
                      <a:pt x="8" y="317"/>
                      <a:pt x="6" y="319"/>
                      <a:pt x="5" y="319"/>
                    </a:cubicBezTo>
                    <a:lnTo>
                      <a:pt x="4" y="319"/>
                    </a:lnTo>
                    <a:close/>
                    <a:moveTo>
                      <a:pt x="8" y="295"/>
                    </a:moveTo>
                    <a:cubicBezTo>
                      <a:pt x="6" y="295"/>
                      <a:pt x="5" y="293"/>
                      <a:pt x="5" y="290"/>
                    </a:cubicBezTo>
                    <a:cubicBezTo>
                      <a:pt x="6" y="288"/>
                      <a:pt x="8" y="287"/>
                      <a:pt x="10" y="287"/>
                    </a:cubicBezTo>
                    <a:cubicBezTo>
                      <a:pt x="12" y="288"/>
                      <a:pt x="14" y="290"/>
                      <a:pt x="13" y="292"/>
                    </a:cubicBezTo>
                    <a:cubicBezTo>
                      <a:pt x="13" y="292"/>
                      <a:pt x="13" y="292"/>
                      <a:pt x="13" y="292"/>
                    </a:cubicBezTo>
                    <a:cubicBezTo>
                      <a:pt x="13" y="294"/>
                      <a:pt x="11" y="295"/>
                      <a:pt x="9" y="295"/>
                    </a:cubicBezTo>
                    <a:lnTo>
                      <a:pt x="8" y="295"/>
                    </a:lnTo>
                    <a:close/>
                    <a:moveTo>
                      <a:pt x="13" y="271"/>
                    </a:moveTo>
                    <a:cubicBezTo>
                      <a:pt x="10" y="271"/>
                      <a:pt x="9" y="269"/>
                      <a:pt x="9" y="267"/>
                    </a:cubicBezTo>
                    <a:cubicBezTo>
                      <a:pt x="9" y="265"/>
                      <a:pt x="12" y="263"/>
                      <a:pt x="14" y="264"/>
                    </a:cubicBezTo>
                    <a:cubicBezTo>
                      <a:pt x="16" y="264"/>
                      <a:pt x="17" y="266"/>
                      <a:pt x="17" y="268"/>
                    </a:cubicBezTo>
                    <a:cubicBezTo>
                      <a:pt x="17" y="270"/>
                      <a:pt x="15" y="271"/>
                      <a:pt x="13" y="271"/>
                    </a:cubicBezTo>
                    <a:close/>
                    <a:moveTo>
                      <a:pt x="16" y="248"/>
                    </a:moveTo>
                    <a:cubicBezTo>
                      <a:pt x="14" y="247"/>
                      <a:pt x="12" y="245"/>
                      <a:pt x="12" y="243"/>
                    </a:cubicBezTo>
                    <a:cubicBezTo>
                      <a:pt x="13" y="241"/>
                      <a:pt x="15" y="239"/>
                      <a:pt x="17" y="240"/>
                    </a:cubicBezTo>
                    <a:cubicBezTo>
                      <a:pt x="19" y="240"/>
                      <a:pt x="21" y="242"/>
                      <a:pt x="20" y="244"/>
                    </a:cubicBezTo>
                    <a:cubicBezTo>
                      <a:pt x="20" y="246"/>
                      <a:pt x="18" y="248"/>
                      <a:pt x="16" y="248"/>
                    </a:cubicBezTo>
                    <a:close/>
                    <a:moveTo>
                      <a:pt x="18" y="224"/>
                    </a:moveTo>
                    <a:cubicBezTo>
                      <a:pt x="16" y="224"/>
                      <a:pt x="15" y="222"/>
                      <a:pt x="15" y="219"/>
                    </a:cubicBezTo>
                    <a:cubicBezTo>
                      <a:pt x="15" y="217"/>
                      <a:pt x="17" y="216"/>
                      <a:pt x="19" y="216"/>
                    </a:cubicBezTo>
                    <a:cubicBezTo>
                      <a:pt x="21" y="216"/>
                      <a:pt x="23" y="218"/>
                      <a:pt x="23" y="220"/>
                    </a:cubicBezTo>
                    <a:cubicBezTo>
                      <a:pt x="23" y="222"/>
                      <a:pt x="21" y="224"/>
                      <a:pt x="19" y="224"/>
                    </a:cubicBezTo>
                    <a:lnTo>
                      <a:pt x="18" y="224"/>
                    </a:lnTo>
                    <a:close/>
                    <a:moveTo>
                      <a:pt x="20" y="200"/>
                    </a:moveTo>
                    <a:cubicBezTo>
                      <a:pt x="18" y="200"/>
                      <a:pt x="16" y="198"/>
                      <a:pt x="17" y="196"/>
                    </a:cubicBezTo>
                    <a:cubicBezTo>
                      <a:pt x="17" y="193"/>
                      <a:pt x="19" y="192"/>
                      <a:pt x="21" y="192"/>
                    </a:cubicBezTo>
                    <a:cubicBezTo>
                      <a:pt x="23" y="192"/>
                      <a:pt x="25" y="194"/>
                      <a:pt x="25" y="196"/>
                    </a:cubicBezTo>
                    <a:cubicBezTo>
                      <a:pt x="24" y="198"/>
                      <a:pt x="23" y="200"/>
                      <a:pt x="21" y="200"/>
                    </a:cubicBezTo>
                    <a:lnTo>
                      <a:pt x="20" y="200"/>
                    </a:lnTo>
                    <a:close/>
                    <a:moveTo>
                      <a:pt x="21" y="176"/>
                    </a:moveTo>
                    <a:cubicBezTo>
                      <a:pt x="19" y="176"/>
                      <a:pt x="18" y="174"/>
                      <a:pt x="18" y="172"/>
                    </a:cubicBezTo>
                    <a:cubicBezTo>
                      <a:pt x="18" y="170"/>
                      <a:pt x="19" y="168"/>
                      <a:pt x="22" y="168"/>
                    </a:cubicBezTo>
                    <a:cubicBezTo>
                      <a:pt x="24" y="168"/>
                      <a:pt x="26" y="170"/>
                      <a:pt x="26" y="172"/>
                    </a:cubicBezTo>
                    <a:cubicBezTo>
                      <a:pt x="26" y="174"/>
                      <a:pt x="24" y="176"/>
                      <a:pt x="22" y="176"/>
                    </a:cubicBezTo>
                    <a:lnTo>
                      <a:pt x="21" y="176"/>
                    </a:lnTo>
                    <a:close/>
                    <a:moveTo>
                      <a:pt x="18" y="148"/>
                    </a:moveTo>
                    <a:cubicBezTo>
                      <a:pt x="18" y="146"/>
                      <a:pt x="20" y="144"/>
                      <a:pt x="22" y="144"/>
                    </a:cubicBezTo>
                    <a:cubicBezTo>
                      <a:pt x="24" y="144"/>
                      <a:pt x="26" y="146"/>
                      <a:pt x="26" y="148"/>
                    </a:cubicBezTo>
                    <a:cubicBezTo>
                      <a:pt x="26" y="150"/>
                      <a:pt x="24" y="152"/>
                      <a:pt x="22" y="152"/>
                    </a:cubicBezTo>
                    <a:cubicBezTo>
                      <a:pt x="20" y="152"/>
                      <a:pt x="18" y="150"/>
                      <a:pt x="18" y="148"/>
                    </a:cubicBezTo>
                    <a:close/>
                    <a:moveTo>
                      <a:pt x="17" y="124"/>
                    </a:moveTo>
                    <a:cubicBezTo>
                      <a:pt x="17" y="122"/>
                      <a:pt x="19" y="120"/>
                      <a:pt x="21" y="120"/>
                    </a:cubicBezTo>
                    <a:cubicBezTo>
                      <a:pt x="24" y="120"/>
                      <a:pt x="25" y="122"/>
                      <a:pt x="25" y="124"/>
                    </a:cubicBezTo>
                    <a:cubicBezTo>
                      <a:pt x="26" y="126"/>
                      <a:pt x="24" y="128"/>
                      <a:pt x="22" y="128"/>
                    </a:cubicBezTo>
                    <a:cubicBezTo>
                      <a:pt x="21" y="128"/>
                      <a:pt x="21" y="128"/>
                      <a:pt x="21" y="128"/>
                    </a:cubicBezTo>
                    <a:cubicBezTo>
                      <a:pt x="19" y="128"/>
                      <a:pt x="18" y="126"/>
                      <a:pt x="17" y="124"/>
                    </a:cubicBezTo>
                    <a:close/>
                    <a:moveTo>
                      <a:pt x="16" y="100"/>
                    </a:moveTo>
                    <a:cubicBezTo>
                      <a:pt x="16" y="98"/>
                      <a:pt x="18" y="96"/>
                      <a:pt x="20" y="96"/>
                    </a:cubicBezTo>
                    <a:cubicBezTo>
                      <a:pt x="22" y="96"/>
                      <a:pt x="24" y="97"/>
                      <a:pt x="24" y="100"/>
                    </a:cubicBezTo>
                    <a:cubicBezTo>
                      <a:pt x="25" y="102"/>
                      <a:pt x="23" y="104"/>
                      <a:pt x="21" y="104"/>
                    </a:cubicBezTo>
                    <a:cubicBezTo>
                      <a:pt x="20" y="104"/>
                      <a:pt x="20" y="104"/>
                      <a:pt x="20" y="104"/>
                    </a:cubicBezTo>
                    <a:cubicBezTo>
                      <a:pt x="18" y="104"/>
                      <a:pt x="17" y="102"/>
                      <a:pt x="16" y="100"/>
                    </a:cubicBezTo>
                    <a:close/>
                    <a:moveTo>
                      <a:pt x="15" y="76"/>
                    </a:moveTo>
                    <a:cubicBezTo>
                      <a:pt x="14" y="74"/>
                      <a:pt x="16" y="72"/>
                      <a:pt x="18" y="72"/>
                    </a:cubicBezTo>
                    <a:cubicBezTo>
                      <a:pt x="20" y="72"/>
                      <a:pt x="22" y="73"/>
                      <a:pt x="23" y="76"/>
                    </a:cubicBezTo>
                    <a:cubicBezTo>
                      <a:pt x="23" y="78"/>
                      <a:pt x="21" y="80"/>
                      <a:pt x="19" y="80"/>
                    </a:cubicBezTo>
                    <a:cubicBezTo>
                      <a:pt x="19" y="80"/>
                      <a:pt x="19" y="80"/>
                      <a:pt x="19" y="80"/>
                    </a:cubicBezTo>
                    <a:cubicBezTo>
                      <a:pt x="17" y="80"/>
                      <a:pt x="15" y="78"/>
                      <a:pt x="15" y="76"/>
                    </a:cubicBezTo>
                    <a:close/>
                    <a:moveTo>
                      <a:pt x="12" y="53"/>
                    </a:moveTo>
                    <a:cubicBezTo>
                      <a:pt x="12" y="53"/>
                      <a:pt x="12" y="53"/>
                      <a:pt x="12" y="53"/>
                    </a:cubicBezTo>
                    <a:cubicBezTo>
                      <a:pt x="12" y="50"/>
                      <a:pt x="13" y="48"/>
                      <a:pt x="16" y="48"/>
                    </a:cubicBezTo>
                    <a:cubicBezTo>
                      <a:pt x="18" y="48"/>
                      <a:pt x="20" y="49"/>
                      <a:pt x="20" y="52"/>
                    </a:cubicBezTo>
                    <a:cubicBezTo>
                      <a:pt x="20" y="54"/>
                      <a:pt x="19" y="56"/>
                      <a:pt x="16" y="56"/>
                    </a:cubicBezTo>
                    <a:cubicBezTo>
                      <a:pt x="16" y="56"/>
                      <a:pt x="16" y="56"/>
                      <a:pt x="16" y="56"/>
                    </a:cubicBezTo>
                    <a:cubicBezTo>
                      <a:pt x="14" y="56"/>
                      <a:pt x="12" y="55"/>
                      <a:pt x="12" y="53"/>
                    </a:cubicBezTo>
                    <a:close/>
                    <a:moveTo>
                      <a:pt x="9" y="29"/>
                    </a:moveTo>
                    <a:cubicBezTo>
                      <a:pt x="8" y="27"/>
                      <a:pt x="10" y="25"/>
                      <a:pt x="12" y="24"/>
                    </a:cubicBezTo>
                    <a:cubicBezTo>
                      <a:pt x="14" y="24"/>
                      <a:pt x="16" y="26"/>
                      <a:pt x="17" y="28"/>
                    </a:cubicBezTo>
                    <a:cubicBezTo>
                      <a:pt x="17" y="30"/>
                      <a:pt x="16" y="32"/>
                      <a:pt x="13" y="32"/>
                    </a:cubicBezTo>
                    <a:cubicBezTo>
                      <a:pt x="13" y="32"/>
                      <a:pt x="13" y="32"/>
                      <a:pt x="13" y="32"/>
                    </a:cubicBezTo>
                    <a:cubicBezTo>
                      <a:pt x="11" y="32"/>
                      <a:pt x="9" y="31"/>
                      <a:pt x="9" y="29"/>
                    </a:cubicBezTo>
                    <a:close/>
                    <a:moveTo>
                      <a:pt x="5" y="5"/>
                    </a:moveTo>
                    <a:cubicBezTo>
                      <a:pt x="4" y="3"/>
                      <a:pt x="6" y="1"/>
                      <a:pt x="8" y="1"/>
                    </a:cubicBezTo>
                    <a:cubicBezTo>
                      <a:pt x="10" y="0"/>
                      <a:pt x="12" y="2"/>
                      <a:pt x="13" y="4"/>
                    </a:cubicBezTo>
                    <a:cubicBezTo>
                      <a:pt x="13" y="6"/>
                      <a:pt x="12" y="8"/>
                      <a:pt x="9" y="9"/>
                    </a:cubicBezTo>
                    <a:cubicBezTo>
                      <a:pt x="9" y="9"/>
                      <a:pt x="9" y="9"/>
                      <a:pt x="9" y="9"/>
                    </a:cubicBezTo>
                    <a:cubicBezTo>
                      <a:pt x="7" y="9"/>
                      <a:pt x="5" y="7"/>
                      <a:pt x="5" y="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7" name="Group 16">
              <a:extLst>
                <a:ext uri="{FF2B5EF4-FFF2-40B4-BE49-F238E27FC236}">
                  <a16:creationId xmlns:a16="http://schemas.microsoft.com/office/drawing/2014/main" id="{6B99F27F-25A9-4497-9BC8-344D9BE0628E}"/>
                </a:ext>
                <a:ext uri="{C183D7F6-B498-43B3-948B-1728B52AA6E4}">
                  <adec:decorative xmlns:adec="http://schemas.microsoft.com/office/drawing/2017/decorative" val="1"/>
                </a:ext>
              </a:extLst>
            </p:cNvPr>
            <p:cNvGrpSpPr/>
            <p:nvPr/>
          </p:nvGrpSpPr>
          <p:grpSpPr>
            <a:xfrm>
              <a:off x="11001579" y="3114086"/>
              <a:ext cx="90265" cy="921326"/>
              <a:chOff x="10588626" y="3138488"/>
              <a:chExt cx="92075" cy="939800"/>
            </a:xfrm>
          </p:grpSpPr>
          <p:sp>
            <p:nvSpPr>
              <p:cNvPr id="89" name="Freeform 31">
                <a:extLst>
                  <a:ext uri="{FF2B5EF4-FFF2-40B4-BE49-F238E27FC236}">
                    <a16:creationId xmlns:a16="http://schemas.microsoft.com/office/drawing/2014/main" id="{2B6AAD92-8624-4BAD-A2AE-AB91109544E8}"/>
                  </a:ext>
                </a:extLst>
              </p:cNvPr>
              <p:cNvSpPr>
                <a:spLocks noEditPoints="1"/>
              </p:cNvSpPr>
              <p:nvPr/>
            </p:nvSpPr>
            <p:spPr bwMode="auto">
              <a:xfrm>
                <a:off x="10614026" y="3138488"/>
                <a:ext cx="66675" cy="860425"/>
              </a:xfrm>
              <a:custGeom>
                <a:avLst/>
                <a:gdLst>
                  <a:gd name="T0" fmla="*/ 3 w 21"/>
                  <a:gd name="T1" fmla="*/ 266 h 271"/>
                  <a:gd name="T2" fmla="*/ 10 w 21"/>
                  <a:gd name="T3" fmla="*/ 268 h 271"/>
                  <a:gd name="T4" fmla="*/ 10 w 21"/>
                  <a:gd name="T5" fmla="*/ 247 h 271"/>
                  <a:gd name="T6" fmla="*/ 6 w 21"/>
                  <a:gd name="T7" fmla="*/ 243 h 271"/>
                  <a:gd name="T8" fmla="*/ 14 w 21"/>
                  <a:gd name="T9" fmla="*/ 244 h 271"/>
                  <a:gd name="T10" fmla="*/ 12 w 21"/>
                  <a:gd name="T11" fmla="*/ 224 h 271"/>
                  <a:gd name="T12" fmla="*/ 13 w 21"/>
                  <a:gd name="T13" fmla="*/ 216 h 271"/>
                  <a:gd name="T14" fmla="*/ 13 w 21"/>
                  <a:gd name="T15" fmla="*/ 224 h 271"/>
                  <a:gd name="T16" fmla="*/ 15 w 21"/>
                  <a:gd name="T17" fmla="*/ 200 h 271"/>
                  <a:gd name="T18" fmla="*/ 15 w 21"/>
                  <a:gd name="T19" fmla="*/ 192 h 271"/>
                  <a:gd name="T20" fmla="*/ 15 w 21"/>
                  <a:gd name="T21" fmla="*/ 200 h 271"/>
                  <a:gd name="T22" fmla="*/ 12 w 21"/>
                  <a:gd name="T23" fmla="*/ 172 h 271"/>
                  <a:gd name="T24" fmla="*/ 20 w 21"/>
                  <a:gd name="T25" fmla="*/ 172 h 271"/>
                  <a:gd name="T26" fmla="*/ 17 w 21"/>
                  <a:gd name="T27" fmla="*/ 152 h 271"/>
                  <a:gd name="T28" fmla="*/ 17 w 21"/>
                  <a:gd name="T29" fmla="*/ 144 h 271"/>
                  <a:gd name="T30" fmla="*/ 21 w 21"/>
                  <a:gd name="T31" fmla="*/ 148 h 271"/>
                  <a:gd name="T32" fmla="*/ 13 w 21"/>
                  <a:gd name="T33" fmla="*/ 124 h 271"/>
                  <a:gd name="T34" fmla="*/ 21 w 21"/>
                  <a:gd name="T35" fmla="*/ 124 h 271"/>
                  <a:gd name="T36" fmla="*/ 17 w 21"/>
                  <a:gd name="T37" fmla="*/ 128 h 271"/>
                  <a:gd name="T38" fmla="*/ 12 w 21"/>
                  <a:gd name="T39" fmla="*/ 100 h 271"/>
                  <a:gd name="T40" fmla="*/ 20 w 21"/>
                  <a:gd name="T41" fmla="*/ 100 h 271"/>
                  <a:gd name="T42" fmla="*/ 16 w 21"/>
                  <a:gd name="T43" fmla="*/ 104 h 271"/>
                  <a:gd name="T44" fmla="*/ 10 w 21"/>
                  <a:gd name="T45" fmla="*/ 76 h 271"/>
                  <a:gd name="T46" fmla="*/ 18 w 21"/>
                  <a:gd name="T47" fmla="*/ 75 h 271"/>
                  <a:gd name="T48" fmla="*/ 14 w 21"/>
                  <a:gd name="T49" fmla="*/ 80 h 271"/>
                  <a:gd name="T50" fmla="*/ 8 w 21"/>
                  <a:gd name="T51" fmla="*/ 52 h 271"/>
                  <a:gd name="T52" fmla="*/ 16 w 21"/>
                  <a:gd name="T53" fmla="*/ 51 h 271"/>
                  <a:gd name="T54" fmla="*/ 12 w 21"/>
                  <a:gd name="T55" fmla="*/ 56 h 271"/>
                  <a:gd name="T56" fmla="*/ 5 w 21"/>
                  <a:gd name="T57" fmla="*/ 29 h 271"/>
                  <a:gd name="T58" fmla="*/ 8 w 21"/>
                  <a:gd name="T59" fmla="*/ 24 h 271"/>
                  <a:gd name="T60" fmla="*/ 9 w 21"/>
                  <a:gd name="T61" fmla="*/ 32 h 271"/>
                  <a:gd name="T62" fmla="*/ 5 w 21"/>
                  <a:gd name="T63" fmla="*/ 29 h 271"/>
                  <a:gd name="T64" fmla="*/ 4 w 21"/>
                  <a:gd name="T65" fmla="*/ 1 h 271"/>
                  <a:gd name="T66" fmla="*/ 5 w 21"/>
                  <a:gd name="T67" fmla="*/ 8 h 271"/>
                  <a:gd name="T68" fmla="*/ 1 w 21"/>
                  <a:gd name="T69" fmla="*/ 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 h="271">
                    <a:moveTo>
                      <a:pt x="6" y="271"/>
                    </a:moveTo>
                    <a:cubicBezTo>
                      <a:pt x="4" y="271"/>
                      <a:pt x="2" y="269"/>
                      <a:pt x="3" y="266"/>
                    </a:cubicBezTo>
                    <a:cubicBezTo>
                      <a:pt x="3" y="264"/>
                      <a:pt x="5" y="263"/>
                      <a:pt x="7" y="263"/>
                    </a:cubicBezTo>
                    <a:cubicBezTo>
                      <a:pt x="9" y="264"/>
                      <a:pt x="11" y="266"/>
                      <a:pt x="10" y="268"/>
                    </a:cubicBezTo>
                    <a:cubicBezTo>
                      <a:pt x="10" y="270"/>
                      <a:pt x="8" y="271"/>
                      <a:pt x="6" y="271"/>
                    </a:cubicBezTo>
                    <a:close/>
                    <a:moveTo>
                      <a:pt x="10" y="247"/>
                    </a:moveTo>
                    <a:cubicBezTo>
                      <a:pt x="7" y="247"/>
                      <a:pt x="6" y="245"/>
                      <a:pt x="6" y="243"/>
                    </a:cubicBezTo>
                    <a:cubicBezTo>
                      <a:pt x="6" y="243"/>
                      <a:pt x="6" y="243"/>
                      <a:pt x="6" y="243"/>
                    </a:cubicBezTo>
                    <a:cubicBezTo>
                      <a:pt x="6" y="241"/>
                      <a:pt x="8" y="239"/>
                      <a:pt x="11" y="239"/>
                    </a:cubicBezTo>
                    <a:cubicBezTo>
                      <a:pt x="13" y="240"/>
                      <a:pt x="14" y="242"/>
                      <a:pt x="14" y="244"/>
                    </a:cubicBezTo>
                    <a:cubicBezTo>
                      <a:pt x="14" y="246"/>
                      <a:pt x="12" y="247"/>
                      <a:pt x="10" y="247"/>
                    </a:cubicBezTo>
                    <a:close/>
                    <a:moveTo>
                      <a:pt x="12" y="224"/>
                    </a:moveTo>
                    <a:cubicBezTo>
                      <a:pt x="10" y="223"/>
                      <a:pt x="9" y="221"/>
                      <a:pt x="9" y="219"/>
                    </a:cubicBezTo>
                    <a:cubicBezTo>
                      <a:pt x="9" y="217"/>
                      <a:pt x="11" y="215"/>
                      <a:pt x="13" y="216"/>
                    </a:cubicBezTo>
                    <a:cubicBezTo>
                      <a:pt x="16" y="216"/>
                      <a:pt x="17" y="218"/>
                      <a:pt x="17" y="220"/>
                    </a:cubicBezTo>
                    <a:cubicBezTo>
                      <a:pt x="17" y="222"/>
                      <a:pt x="15" y="224"/>
                      <a:pt x="13" y="224"/>
                    </a:cubicBezTo>
                    <a:lnTo>
                      <a:pt x="12" y="224"/>
                    </a:lnTo>
                    <a:close/>
                    <a:moveTo>
                      <a:pt x="15" y="200"/>
                    </a:moveTo>
                    <a:cubicBezTo>
                      <a:pt x="12" y="199"/>
                      <a:pt x="11" y="198"/>
                      <a:pt x="11" y="195"/>
                    </a:cubicBezTo>
                    <a:cubicBezTo>
                      <a:pt x="11" y="193"/>
                      <a:pt x="13" y="192"/>
                      <a:pt x="15" y="192"/>
                    </a:cubicBezTo>
                    <a:cubicBezTo>
                      <a:pt x="17" y="192"/>
                      <a:pt x="19" y="194"/>
                      <a:pt x="19" y="196"/>
                    </a:cubicBezTo>
                    <a:cubicBezTo>
                      <a:pt x="19" y="198"/>
                      <a:pt x="17" y="200"/>
                      <a:pt x="15" y="200"/>
                    </a:cubicBezTo>
                    <a:close/>
                    <a:moveTo>
                      <a:pt x="16" y="176"/>
                    </a:moveTo>
                    <a:cubicBezTo>
                      <a:pt x="14" y="176"/>
                      <a:pt x="12" y="174"/>
                      <a:pt x="12" y="172"/>
                    </a:cubicBezTo>
                    <a:cubicBezTo>
                      <a:pt x="12" y="169"/>
                      <a:pt x="14" y="168"/>
                      <a:pt x="16" y="168"/>
                    </a:cubicBezTo>
                    <a:cubicBezTo>
                      <a:pt x="19" y="168"/>
                      <a:pt x="20" y="170"/>
                      <a:pt x="20" y="172"/>
                    </a:cubicBezTo>
                    <a:cubicBezTo>
                      <a:pt x="20" y="174"/>
                      <a:pt x="18" y="176"/>
                      <a:pt x="16" y="176"/>
                    </a:cubicBezTo>
                    <a:close/>
                    <a:moveTo>
                      <a:pt x="17" y="152"/>
                    </a:moveTo>
                    <a:cubicBezTo>
                      <a:pt x="15" y="152"/>
                      <a:pt x="13" y="150"/>
                      <a:pt x="13" y="148"/>
                    </a:cubicBezTo>
                    <a:cubicBezTo>
                      <a:pt x="13" y="145"/>
                      <a:pt x="15" y="144"/>
                      <a:pt x="17" y="144"/>
                    </a:cubicBezTo>
                    <a:cubicBezTo>
                      <a:pt x="19" y="144"/>
                      <a:pt x="21" y="146"/>
                      <a:pt x="21" y="148"/>
                    </a:cubicBezTo>
                    <a:cubicBezTo>
                      <a:pt x="21" y="148"/>
                      <a:pt x="21" y="148"/>
                      <a:pt x="21" y="148"/>
                    </a:cubicBezTo>
                    <a:cubicBezTo>
                      <a:pt x="21" y="150"/>
                      <a:pt x="19" y="152"/>
                      <a:pt x="17" y="152"/>
                    </a:cubicBezTo>
                    <a:close/>
                    <a:moveTo>
                      <a:pt x="13" y="124"/>
                    </a:moveTo>
                    <a:cubicBezTo>
                      <a:pt x="13" y="122"/>
                      <a:pt x="14" y="120"/>
                      <a:pt x="17" y="120"/>
                    </a:cubicBezTo>
                    <a:cubicBezTo>
                      <a:pt x="19" y="120"/>
                      <a:pt x="21" y="121"/>
                      <a:pt x="21" y="124"/>
                    </a:cubicBezTo>
                    <a:cubicBezTo>
                      <a:pt x="21" y="126"/>
                      <a:pt x="19" y="128"/>
                      <a:pt x="17" y="128"/>
                    </a:cubicBezTo>
                    <a:cubicBezTo>
                      <a:pt x="17" y="128"/>
                      <a:pt x="17" y="128"/>
                      <a:pt x="17" y="128"/>
                    </a:cubicBezTo>
                    <a:cubicBezTo>
                      <a:pt x="15" y="128"/>
                      <a:pt x="13" y="126"/>
                      <a:pt x="13" y="124"/>
                    </a:cubicBezTo>
                    <a:close/>
                    <a:moveTo>
                      <a:pt x="12" y="100"/>
                    </a:moveTo>
                    <a:cubicBezTo>
                      <a:pt x="12" y="98"/>
                      <a:pt x="13" y="96"/>
                      <a:pt x="16" y="96"/>
                    </a:cubicBezTo>
                    <a:cubicBezTo>
                      <a:pt x="18" y="96"/>
                      <a:pt x="20" y="97"/>
                      <a:pt x="20" y="100"/>
                    </a:cubicBezTo>
                    <a:cubicBezTo>
                      <a:pt x="20" y="102"/>
                      <a:pt x="18" y="104"/>
                      <a:pt x="16" y="104"/>
                    </a:cubicBezTo>
                    <a:cubicBezTo>
                      <a:pt x="16" y="104"/>
                      <a:pt x="16" y="104"/>
                      <a:pt x="16" y="104"/>
                    </a:cubicBezTo>
                    <a:cubicBezTo>
                      <a:pt x="14" y="104"/>
                      <a:pt x="12" y="102"/>
                      <a:pt x="12" y="100"/>
                    </a:cubicBezTo>
                    <a:close/>
                    <a:moveTo>
                      <a:pt x="10" y="76"/>
                    </a:moveTo>
                    <a:cubicBezTo>
                      <a:pt x="10" y="74"/>
                      <a:pt x="12" y="72"/>
                      <a:pt x="14" y="72"/>
                    </a:cubicBezTo>
                    <a:cubicBezTo>
                      <a:pt x="16" y="72"/>
                      <a:pt x="18" y="73"/>
                      <a:pt x="18" y="75"/>
                    </a:cubicBezTo>
                    <a:cubicBezTo>
                      <a:pt x="18" y="78"/>
                      <a:pt x="17" y="80"/>
                      <a:pt x="14" y="80"/>
                    </a:cubicBezTo>
                    <a:cubicBezTo>
                      <a:pt x="14" y="80"/>
                      <a:pt x="14" y="80"/>
                      <a:pt x="14" y="80"/>
                    </a:cubicBezTo>
                    <a:cubicBezTo>
                      <a:pt x="12" y="80"/>
                      <a:pt x="10" y="78"/>
                      <a:pt x="10" y="76"/>
                    </a:cubicBezTo>
                    <a:close/>
                    <a:moveTo>
                      <a:pt x="8" y="52"/>
                    </a:moveTo>
                    <a:cubicBezTo>
                      <a:pt x="7" y="50"/>
                      <a:pt x="9" y="48"/>
                      <a:pt x="11" y="48"/>
                    </a:cubicBezTo>
                    <a:cubicBezTo>
                      <a:pt x="13" y="48"/>
                      <a:pt x="15" y="49"/>
                      <a:pt x="16" y="51"/>
                    </a:cubicBezTo>
                    <a:cubicBezTo>
                      <a:pt x="16" y="54"/>
                      <a:pt x="14" y="56"/>
                      <a:pt x="12" y="56"/>
                    </a:cubicBezTo>
                    <a:cubicBezTo>
                      <a:pt x="12" y="56"/>
                      <a:pt x="12" y="56"/>
                      <a:pt x="12" y="56"/>
                    </a:cubicBezTo>
                    <a:cubicBezTo>
                      <a:pt x="10" y="56"/>
                      <a:pt x="8" y="54"/>
                      <a:pt x="8" y="52"/>
                    </a:cubicBezTo>
                    <a:close/>
                    <a:moveTo>
                      <a:pt x="5" y="29"/>
                    </a:moveTo>
                    <a:cubicBezTo>
                      <a:pt x="5" y="29"/>
                      <a:pt x="5" y="29"/>
                      <a:pt x="5" y="29"/>
                    </a:cubicBezTo>
                    <a:cubicBezTo>
                      <a:pt x="4" y="27"/>
                      <a:pt x="6" y="24"/>
                      <a:pt x="8" y="24"/>
                    </a:cubicBezTo>
                    <a:cubicBezTo>
                      <a:pt x="10" y="24"/>
                      <a:pt x="12" y="25"/>
                      <a:pt x="12" y="28"/>
                    </a:cubicBezTo>
                    <a:cubicBezTo>
                      <a:pt x="13" y="30"/>
                      <a:pt x="11" y="32"/>
                      <a:pt x="9" y="32"/>
                    </a:cubicBezTo>
                    <a:cubicBezTo>
                      <a:pt x="8" y="32"/>
                      <a:pt x="8" y="32"/>
                      <a:pt x="8" y="32"/>
                    </a:cubicBezTo>
                    <a:cubicBezTo>
                      <a:pt x="7" y="32"/>
                      <a:pt x="5" y="31"/>
                      <a:pt x="5" y="29"/>
                    </a:cubicBezTo>
                    <a:close/>
                    <a:moveTo>
                      <a:pt x="1" y="5"/>
                    </a:moveTo>
                    <a:cubicBezTo>
                      <a:pt x="0" y="3"/>
                      <a:pt x="2" y="1"/>
                      <a:pt x="4" y="1"/>
                    </a:cubicBezTo>
                    <a:cubicBezTo>
                      <a:pt x="6" y="0"/>
                      <a:pt x="8" y="2"/>
                      <a:pt x="8" y="4"/>
                    </a:cubicBezTo>
                    <a:cubicBezTo>
                      <a:pt x="9" y="6"/>
                      <a:pt x="7" y="8"/>
                      <a:pt x="5" y="8"/>
                    </a:cubicBezTo>
                    <a:cubicBezTo>
                      <a:pt x="5" y="8"/>
                      <a:pt x="5" y="8"/>
                      <a:pt x="5" y="8"/>
                    </a:cubicBezTo>
                    <a:cubicBezTo>
                      <a:pt x="3" y="8"/>
                      <a:pt x="1" y="7"/>
                      <a:pt x="1" y="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90" name="Freeform 33">
                <a:extLst>
                  <a:ext uri="{FF2B5EF4-FFF2-40B4-BE49-F238E27FC236}">
                    <a16:creationId xmlns:a16="http://schemas.microsoft.com/office/drawing/2014/main" id="{68CE8922-C1AE-48F0-810D-2C8FB7970904}"/>
                  </a:ext>
                </a:extLst>
              </p:cNvPr>
              <p:cNvSpPr>
                <a:spLocks/>
              </p:cNvSpPr>
              <p:nvPr/>
            </p:nvSpPr>
            <p:spPr bwMode="auto">
              <a:xfrm>
                <a:off x="10588626" y="4024313"/>
                <a:ext cx="69850" cy="53975"/>
              </a:xfrm>
              <a:custGeom>
                <a:avLst/>
                <a:gdLst>
                  <a:gd name="T0" fmla="*/ 9 w 22"/>
                  <a:gd name="T1" fmla="*/ 17 h 17"/>
                  <a:gd name="T2" fmla="*/ 1 w 22"/>
                  <a:gd name="T3" fmla="*/ 5 h 17"/>
                  <a:gd name="T4" fmla="*/ 2 w 22"/>
                  <a:gd name="T5" fmla="*/ 1 h 17"/>
                  <a:gd name="T6" fmla="*/ 6 w 22"/>
                  <a:gd name="T7" fmla="*/ 2 h 17"/>
                  <a:gd name="T8" fmla="*/ 11 w 22"/>
                  <a:gd name="T9" fmla="*/ 9 h 17"/>
                  <a:gd name="T10" fmla="*/ 17 w 22"/>
                  <a:gd name="T11" fmla="*/ 4 h 17"/>
                  <a:gd name="T12" fmla="*/ 22 w 22"/>
                  <a:gd name="T13" fmla="*/ 5 h 17"/>
                  <a:gd name="T14" fmla="*/ 21 w 22"/>
                  <a:gd name="T15" fmla="*/ 9 h 17"/>
                  <a:gd name="T16" fmla="*/ 9 w 2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9" y="17"/>
                    </a:moveTo>
                    <a:cubicBezTo>
                      <a:pt x="1" y="5"/>
                      <a:pt x="1" y="5"/>
                      <a:pt x="1" y="5"/>
                    </a:cubicBezTo>
                    <a:cubicBezTo>
                      <a:pt x="0" y="4"/>
                      <a:pt x="1" y="2"/>
                      <a:pt x="2" y="1"/>
                    </a:cubicBezTo>
                    <a:cubicBezTo>
                      <a:pt x="3" y="0"/>
                      <a:pt x="5" y="1"/>
                      <a:pt x="6" y="2"/>
                    </a:cubicBezTo>
                    <a:cubicBezTo>
                      <a:pt x="11" y="9"/>
                      <a:pt x="11" y="9"/>
                      <a:pt x="11" y="9"/>
                    </a:cubicBezTo>
                    <a:cubicBezTo>
                      <a:pt x="17" y="4"/>
                      <a:pt x="17" y="4"/>
                      <a:pt x="17" y="4"/>
                    </a:cubicBezTo>
                    <a:cubicBezTo>
                      <a:pt x="19" y="3"/>
                      <a:pt x="21" y="4"/>
                      <a:pt x="22" y="5"/>
                    </a:cubicBezTo>
                    <a:cubicBezTo>
                      <a:pt x="22" y="6"/>
                      <a:pt x="22" y="8"/>
                      <a:pt x="21" y="9"/>
                    </a:cubicBezTo>
                    <a:lnTo>
                      <a:pt x="9" y="1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75C70DEB-55EF-4DA4-9332-1D1DFF1BE056}"/>
                </a:ext>
                <a:ext uri="{C183D7F6-B498-43B3-948B-1728B52AA6E4}">
                  <adec:decorative xmlns:adec="http://schemas.microsoft.com/office/drawing/2017/decorative" val="1"/>
                </a:ext>
              </a:extLst>
            </p:cNvPr>
            <p:cNvGrpSpPr/>
            <p:nvPr/>
          </p:nvGrpSpPr>
          <p:grpSpPr>
            <a:xfrm>
              <a:off x="9477967" y="1192064"/>
              <a:ext cx="929107" cy="561822"/>
              <a:chOff x="9034463" y="1177925"/>
              <a:chExt cx="947738" cy="573088"/>
            </a:xfrm>
          </p:grpSpPr>
          <p:sp>
            <p:nvSpPr>
              <p:cNvPr id="87" name="Freeform 34">
                <a:extLst>
                  <a:ext uri="{FF2B5EF4-FFF2-40B4-BE49-F238E27FC236}">
                    <a16:creationId xmlns:a16="http://schemas.microsoft.com/office/drawing/2014/main" id="{CE6ACB41-9168-4B84-AAE5-3D1E9D090693}"/>
                  </a:ext>
                </a:extLst>
              </p:cNvPr>
              <p:cNvSpPr>
                <a:spLocks/>
              </p:cNvSpPr>
              <p:nvPr/>
            </p:nvSpPr>
            <p:spPr bwMode="auto">
              <a:xfrm>
                <a:off x="9034463" y="1177925"/>
                <a:ext cx="57150" cy="69850"/>
              </a:xfrm>
              <a:custGeom>
                <a:avLst/>
                <a:gdLst>
                  <a:gd name="T0" fmla="*/ 0 w 18"/>
                  <a:gd name="T1" fmla="*/ 7 h 22"/>
                  <a:gd name="T2" fmla="*/ 13 w 18"/>
                  <a:gd name="T3" fmla="*/ 1 h 22"/>
                  <a:gd name="T4" fmla="*/ 17 w 18"/>
                  <a:gd name="T5" fmla="*/ 2 h 22"/>
                  <a:gd name="T6" fmla="*/ 16 w 18"/>
                  <a:gd name="T7" fmla="*/ 6 h 22"/>
                  <a:gd name="T8" fmla="*/ 8 w 18"/>
                  <a:gd name="T9" fmla="*/ 10 h 22"/>
                  <a:gd name="T10" fmla="*/ 12 w 18"/>
                  <a:gd name="T11" fmla="*/ 17 h 22"/>
                  <a:gd name="T12" fmla="*/ 11 w 18"/>
                  <a:gd name="T13" fmla="*/ 21 h 22"/>
                  <a:gd name="T14" fmla="*/ 7 w 18"/>
                  <a:gd name="T15" fmla="*/ 20 h 22"/>
                  <a:gd name="T16" fmla="*/ 0 w 18"/>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2">
                    <a:moveTo>
                      <a:pt x="0" y="7"/>
                    </a:moveTo>
                    <a:cubicBezTo>
                      <a:pt x="13" y="1"/>
                      <a:pt x="13" y="1"/>
                      <a:pt x="13" y="1"/>
                    </a:cubicBezTo>
                    <a:cubicBezTo>
                      <a:pt x="14" y="0"/>
                      <a:pt x="16" y="1"/>
                      <a:pt x="17" y="2"/>
                    </a:cubicBezTo>
                    <a:cubicBezTo>
                      <a:pt x="18" y="4"/>
                      <a:pt x="17" y="6"/>
                      <a:pt x="16" y="6"/>
                    </a:cubicBezTo>
                    <a:cubicBezTo>
                      <a:pt x="8" y="10"/>
                      <a:pt x="8" y="10"/>
                      <a:pt x="8" y="10"/>
                    </a:cubicBezTo>
                    <a:cubicBezTo>
                      <a:pt x="12" y="17"/>
                      <a:pt x="12" y="17"/>
                      <a:pt x="12" y="17"/>
                    </a:cubicBezTo>
                    <a:cubicBezTo>
                      <a:pt x="13" y="19"/>
                      <a:pt x="12" y="21"/>
                      <a:pt x="11" y="21"/>
                    </a:cubicBezTo>
                    <a:cubicBezTo>
                      <a:pt x="9" y="22"/>
                      <a:pt x="7" y="21"/>
                      <a:pt x="7" y="20"/>
                    </a:cubicBezTo>
                    <a:lnTo>
                      <a:pt x="0"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8" name="Freeform 36">
                <a:extLst>
                  <a:ext uri="{FF2B5EF4-FFF2-40B4-BE49-F238E27FC236}">
                    <a16:creationId xmlns:a16="http://schemas.microsoft.com/office/drawing/2014/main" id="{510620EE-BB36-4EF7-B2D5-9C191399E264}"/>
                  </a:ext>
                </a:extLst>
              </p:cNvPr>
              <p:cNvSpPr>
                <a:spLocks noEditPoints="1"/>
              </p:cNvSpPr>
              <p:nvPr/>
            </p:nvSpPr>
            <p:spPr bwMode="auto">
              <a:xfrm>
                <a:off x="9110663" y="1216025"/>
                <a:ext cx="871538" cy="534988"/>
              </a:xfrm>
              <a:custGeom>
                <a:avLst/>
                <a:gdLst>
                  <a:gd name="T0" fmla="*/ 268 w 275"/>
                  <a:gd name="T1" fmla="*/ 166 h 168"/>
                  <a:gd name="T2" fmla="*/ 273 w 275"/>
                  <a:gd name="T3" fmla="*/ 160 h 168"/>
                  <a:gd name="T4" fmla="*/ 273 w 275"/>
                  <a:gd name="T5" fmla="*/ 166 h 168"/>
                  <a:gd name="T6" fmla="*/ 250 w 275"/>
                  <a:gd name="T7" fmla="*/ 150 h 168"/>
                  <a:gd name="T8" fmla="*/ 255 w 275"/>
                  <a:gd name="T9" fmla="*/ 144 h 168"/>
                  <a:gd name="T10" fmla="*/ 256 w 275"/>
                  <a:gd name="T11" fmla="*/ 149 h 168"/>
                  <a:gd name="T12" fmla="*/ 237 w 275"/>
                  <a:gd name="T13" fmla="*/ 135 h 168"/>
                  <a:gd name="T14" fmla="*/ 231 w 275"/>
                  <a:gd name="T15" fmla="*/ 130 h 168"/>
                  <a:gd name="T16" fmla="*/ 237 w 275"/>
                  <a:gd name="T17" fmla="*/ 134 h 168"/>
                  <a:gd name="T18" fmla="*/ 218 w 275"/>
                  <a:gd name="T19" fmla="*/ 120 h 168"/>
                  <a:gd name="T20" fmla="*/ 212 w 275"/>
                  <a:gd name="T21" fmla="*/ 115 h 168"/>
                  <a:gd name="T22" fmla="*/ 218 w 275"/>
                  <a:gd name="T23" fmla="*/ 119 h 168"/>
                  <a:gd name="T24" fmla="*/ 199 w 275"/>
                  <a:gd name="T25" fmla="*/ 106 h 168"/>
                  <a:gd name="T26" fmla="*/ 192 w 275"/>
                  <a:gd name="T27" fmla="*/ 101 h 168"/>
                  <a:gd name="T28" fmla="*/ 199 w 275"/>
                  <a:gd name="T29" fmla="*/ 105 h 168"/>
                  <a:gd name="T30" fmla="*/ 179 w 275"/>
                  <a:gd name="T31" fmla="*/ 92 h 168"/>
                  <a:gd name="T32" fmla="*/ 172 w 275"/>
                  <a:gd name="T33" fmla="*/ 88 h 168"/>
                  <a:gd name="T34" fmla="*/ 179 w 275"/>
                  <a:gd name="T35" fmla="*/ 92 h 168"/>
                  <a:gd name="T36" fmla="*/ 153 w 275"/>
                  <a:gd name="T37" fmla="*/ 80 h 168"/>
                  <a:gd name="T38" fmla="*/ 157 w 275"/>
                  <a:gd name="T39" fmla="*/ 74 h 168"/>
                  <a:gd name="T40" fmla="*/ 133 w 275"/>
                  <a:gd name="T41" fmla="*/ 68 h 168"/>
                  <a:gd name="T42" fmla="*/ 137 w 275"/>
                  <a:gd name="T43" fmla="*/ 61 h 168"/>
                  <a:gd name="T44" fmla="*/ 133 w 275"/>
                  <a:gd name="T45" fmla="*/ 68 h 168"/>
                  <a:gd name="T46" fmla="*/ 110 w 275"/>
                  <a:gd name="T47" fmla="*/ 51 h 168"/>
                  <a:gd name="T48" fmla="*/ 117 w 275"/>
                  <a:gd name="T49" fmla="*/ 55 h 168"/>
                  <a:gd name="T50" fmla="*/ 112 w 275"/>
                  <a:gd name="T51" fmla="*/ 57 h 168"/>
                  <a:gd name="T52" fmla="*/ 89 w 275"/>
                  <a:gd name="T53" fmla="*/ 40 h 168"/>
                  <a:gd name="T54" fmla="*/ 96 w 275"/>
                  <a:gd name="T55" fmla="*/ 44 h 168"/>
                  <a:gd name="T56" fmla="*/ 91 w 275"/>
                  <a:gd name="T57" fmla="*/ 46 h 168"/>
                  <a:gd name="T58" fmla="*/ 67 w 275"/>
                  <a:gd name="T59" fmla="*/ 30 h 168"/>
                  <a:gd name="T60" fmla="*/ 74 w 275"/>
                  <a:gd name="T61" fmla="*/ 33 h 168"/>
                  <a:gd name="T62" fmla="*/ 69 w 275"/>
                  <a:gd name="T63" fmla="*/ 35 h 168"/>
                  <a:gd name="T64" fmla="*/ 47 w 275"/>
                  <a:gd name="T65" fmla="*/ 26 h 168"/>
                  <a:gd name="T66" fmla="*/ 50 w 275"/>
                  <a:gd name="T67" fmla="*/ 18 h 168"/>
                  <a:gd name="T68" fmla="*/ 52 w 275"/>
                  <a:gd name="T69" fmla="*/ 24 h 168"/>
                  <a:gd name="T70" fmla="*/ 25 w 275"/>
                  <a:gd name="T71" fmla="*/ 17 h 168"/>
                  <a:gd name="T72" fmla="*/ 28 w 275"/>
                  <a:gd name="T73" fmla="*/ 9 h 168"/>
                  <a:gd name="T74" fmla="*/ 30 w 275"/>
                  <a:gd name="T75" fmla="*/ 15 h 168"/>
                  <a:gd name="T76" fmla="*/ 3 w 275"/>
                  <a:gd name="T77" fmla="*/ 8 h 168"/>
                  <a:gd name="T78" fmla="*/ 5 w 275"/>
                  <a:gd name="T79" fmla="*/ 1 h 168"/>
                  <a:gd name="T80" fmla="*/ 7 w 275"/>
                  <a:gd name="T81" fmla="*/ 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5" h="168">
                    <a:moveTo>
                      <a:pt x="273" y="166"/>
                    </a:moveTo>
                    <a:cubicBezTo>
                      <a:pt x="272" y="167"/>
                      <a:pt x="269" y="168"/>
                      <a:pt x="268" y="166"/>
                    </a:cubicBezTo>
                    <a:cubicBezTo>
                      <a:pt x="266" y="165"/>
                      <a:pt x="266" y="162"/>
                      <a:pt x="267" y="160"/>
                    </a:cubicBezTo>
                    <a:cubicBezTo>
                      <a:pt x="269" y="159"/>
                      <a:pt x="271" y="159"/>
                      <a:pt x="273" y="160"/>
                    </a:cubicBezTo>
                    <a:cubicBezTo>
                      <a:pt x="274" y="161"/>
                      <a:pt x="275" y="164"/>
                      <a:pt x="274" y="165"/>
                    </a:cubicBezTo>
                    <a:lnTo>
                      <a:pt x="273" y="166"/>
                    </a:lnTo>
                    <a:close/>
                    <a:moveTo>
                      <a:pt x="255" y="150"/>
                    </a:moveTo>
                    <a:cubicBezTo>
                      <a:pt x="254" y="152"/>
                      <a:pt x="251" y="152"/>
                      <a:pt x="250" y="150"/>
                    </a:cubicBezTo>
                    <a:cubicBezTo>
                      <a:pt x="248" y="149"/>
                      <a:pt x="248" y="146"/>
                      <a:pt x="249" y="145"/>
                    </a:cubicBezTo>
                    <a:cubicBezTo>
                      <a:pt x="251" y="143"/>
                      <a:pt x="253" y="143"/>
                      <a:pt x="255" y="144"/>
                    </a:cubicBezTo>
                    <a:cubicBezTo>
                      <a:pt x="255" y="144"/>
                      <a:pt x="255" y="144"/>
                      <a:pt x="255" y="144"/>
                    </a:cubicBezTo>
                    <a:cubicBezTo>
                      <a:pt x="256" y="146"/>
                      <a:pt x="257" y="148"/>
                      <a:pt x="256" y="149"/>
                    </a:cubicBezTo>
                    <a:lnTo>
                      <a:pt x="255" y="150"/>
                    </a:lnTo>
                    <a:close/>
                    <a:moveTo>
                      <a:pt x="237" y="135"/>
                    </a:moveTo>
                    <a:cubicBezTo>
                      <a:pt x="236" y="136"/>
                      <a:pt x="233" y="137"/>
                      <a:pt x="231" y="135"/>
                    </a:cubicBezTo>
                    <a:cubicBezTo>
                      <a:pt x="230" y="134"/>
                      <a:pt x="229" y="131"/>
                      <a:pt x="231" y="130"/>
                    </a:cubicBezTo>
                    <a:cubicBezTo>
                      <a:pt x="232" y="128"/>
                      <a:pt x="235" y="128"/>
                      <a:pt x="236" y="129"/>
                    </a:cubicBezTo>
                    <a:cubicBezTo>
                      <a:pt x="238" y="130"/>
                      <a:pt x="238" y="132"/>
                      <a:pt x="237" y="134"/>
                    </a:cubicBezTo>
                    <a:lnTo>
                      <a:pt x="237" y="135"/>
                    </a:lnTo>
                    <a:close/>
                    <a:moveTo>
                      <a:pt x="218" y="120"/>
                    </a:moveTo>
                    <a:cubicBezTo>
                      <a:pt x="217" y="122"/>
                      <a:pt x="214" y="122"/>
                      <a:pt x="212" y="121"/>
                    </a:cubicBezTo>
                    <a:cubicBezTo>
                      <a:pt x="211" y="119"/>
                      <a:pt x="210" y="117"/>
                      <a:pt x="212" y="115"/>
                    </a:cubicBezTo>
                    <a:cubicBezTo>
                      <a:pt x="213" y="113"/>
                      <a:pt x="215" y="113"/>
                      <a:pt x="217" y="114"/>
                    </a:cubicBezTo>
                    <a:cubicBezTo>
                      <a:pt x="219" y="115"/>
                      <a:pt x="219" y="118"/>
                      <a:pt x="218" y="119"/>
                    </a:cubicBezTo>
                    <a:lnTo>
                      <a:pt x="218" y="120"/>
                    </a:lnTo>
                    <a:close/>
                    <a:moveTo>
                      <a:pt x="199" y="106"/>
                    </a:moveTo>
                    <a:cubicBezTo>
                      <a:pt x="197" y="107"/>
                      <a:pt x="195" y="108"/>
                      <a:pt x="193" y="107"/>
                    </a:cubicBezTo>
                    <a:cubicBezTo>
                      <a:pt x="191" y="105"/>
                      <a:pt x="191" y="103"/>
                      <a:pt x="192" y="101"/>
                    </a:cubicBezTo>
                    <a:cubicBezTo>
                      <a:pt x="193" y="99"/>
                      <a:pt x="196" y="99"/>
                      <a:pt x="198" y="100"/>
                    </a:cubicBezTo>
                    <a:cubicBezTo>
                      <a:pt x="199" y="101"/>
                      <a:pt x="200" y="104"/>
                      <a:pt x="199" y="105"/>
                    </a:cubicBezTo>
                    <a:lnTo>
                      <a:pt x="199" y="106"/>
                    </a:lnTo>
                    <a:close/>
                    <a:moveTo>
                      <a:pt x="179" y="92"/>
                    </a:moveTo>
                    <a:cubicBezTo>
                      <a:pt x="178" y="94"/>
                      <a:pt x="175" y="94"/>
                      <a:pt x="173" y="93"/>
                    </a:cubicBezTo>
                    <a:cubicBezTo>
                      <a:pt x="171" y="92"/>
                      <a:pt x="171" y="90"/>
                      <a:pt x="172" y="88"/>
                    </a:cubicBezTo>
                    <a:cubicBezTo>
                      <a:pt x="173" y="86"/>
                      <a:pt x="176" y="85"/>
                      <a:pt x="178" y="87"/>
                    </a:cubicBezTo>
                    <a:cubicBezTo>
                      <a:pt x="179" y="88"/>
                      <a:pt x="180" y="90"/>
                      <a:pt x="179" y="92"/>
                    </a:cubicBezTo>
                    <a:close/>
                    <a:moveTo>
                      <a:pt x="159" y="79"/>
                    </a:moveTo>
                    <a:cubicBezTo>
                      <a:pt x="157" y="81"/>
                      <a:pt x="155" y="82"/>
                      <a:pt x="153" y="80"/>
                    </a:cubicBezTo>
                    <a:cubicBezTo>
                      <a:pt x="151" y="79"/>
                      <a:pt x="151" y="77"/>
                      <a:pt x="152" y="75"/>
                    </a:cubicBezTo>
                    <a:cubicBezTo>
                      <a:pt x="153" y="73"/>
                      <a:pt x="155" y="72"/>
                      <a:pt x="157" y="74"/>
                    </a:cubicBezTo>
                    <a:cubicBezTo>
                      <a:pt x="159" y="75"/>
                      <a:pt x="160" y="77"/>
                      <a:pt x="159" y="79"/>
                    </a:cubicBezTo>
                    <a:close/>
                    <a:moveTo>
                      <a:pt x="133" y="68"/>
                    </a:moveTo>
                    <a:cubicBezTo>
                      <a:pt x="131" y="67"/>
                      <a:pt x="130" y="65"/>
                      <a:pt x="131" y="63"/>
                    </a:cubicBezTo>
                    <a:cubicBezTo>
                      <a:pt x="132" y="61"/>
                      <a:pt x="135" y="60"/>
                      <a:pt x="137" y="61"/>
                    </a:cubicBezTo>
                    <a:cubicBezTo>
                      <a:pt x="138" y="62"/>
                      <a:pt x="139" y="65"/>
                      <a:pt x="138" y="67"/>
                    </a:cubicBezTo>
                    <a:cubicBezTo>
                      <a:pt x="137" y="69"/>
                      <a:pt x="135" y="69"/>
                      <a:pt x="133" y="68"/>
                    </a:cubicBezTo>
                    <a:close/>
                    <a:moveTo>
                      <a:pt x="112" y="57"/>
                    </a:moveTo>
                    <a:cubicBezTo>
                      <a:pt x="110" y="56"/>
                      <a:pt x="109" y="53"/>
                      <a:pt x="110" y="51"/>
                    </a:cubicBezTo>
                    <a:cubicBezTo>
                      <a:pt x="111" y="49"/>
                      <a:pt x="114" y="48"/>
                      <a:pt x="116" y="50"/>
                    </a:cubicBezTo>
                    <a:cubicBezTo>
                      <a:pt x="117" y="51"/>
                      <a:pt x="118" y="53"/>
                      <a:pt x="117" y="55"/>
                    </a:cubicBezTo>
                    <a:cubicBezTo>
                      <a:pt x="117" y="55"/>
                      <a:pt x="117" y="55"/>
                      <a:pt x="117" y="55"/>
                    </a:cubicBezTo>
                    <a:cubicBezTo>
                      <a:pt x="116" y="57"/>
                      <a:pt x="114" y="58"/>
                      <a:pt x="112" y="57"/>
                    </a:cubicBezTo>
                    <a:close/>
                    <a:moveTo>
                      <a:pt x="91" y="46"/>
                    </a:moveTo>
                    <a:cubicBezTo>
                      <a:pt x="89" y="45"/>
                      <a:pt x="88" y="42"/>
                      <a:pt x="89" y="40"/>
                    </a:cubicBezTo>
                    <a:cubicBezTo>
                      <a:pt x="90" y="38"/>
                      <a:pt x="92" y="37"/>
                      <a:pt x="94" y="38"/>
                    </a:cubicBezTo>
                    <a:cubicBezTo>
                      <a:pt x="96" y="39"/>
                      <a:pt x="97" y="42"/>
                      <a:pt x="96" y="44"/>
                    </a:cubicBezTo>
                    <a:cubicBezTo>
                      <a:pt x="96" y="44"/>
                      <a:pt x="96" y="44"/>
                      <a:pt x="96" y="44"/>
                    </a:cubicBezTo>
                    <a:cubicBezTo>
                      <a:pt x="95" y="46"/>
                      <a:pt x="92" y="47"/>
                      <a:pt x="91" y="46"/>
                    </a:cubicBezTo>
                    <a:close/>
                    <a:moveTo>
                      <a:pt x="69" y="35"/>
                    </a:moveTo>
                    <a:cubicBezTo>
                      <a:pt x="67" y="34"/>
                      <a:pt x="66" y="32"/>
                      <a:pt x="67" y="30"/>
                    </a:cubicBezTo>
                    <a:cubicBezTo>
                      <a:pt x="68" y="28"/>
                      <a:pt x="70" y="27"/>
                      <a:pt x="72" y="28"/>
                    </a:cubicBezTo>
                    <a:cubicBezTo>
                      <a:pt x="74" y="29"/>
                      <a:pt x="75" y="31"/>
                      <a:pt x="74" y="33"/>
                    </a:cubicBezTo>
                    <a:cubicBezTo>
                      <a:pt x="74" y="34"/>
                      <a:pt x="74" y="34"/>
                      <a:pt x="74" y="34"/>
                    </a:cubicBezTo>
                    <a:cubicBezTo>
                      <a:pt x="73" y="35"/>
                      <a:pt x="71" y="36"/>
                      <a:pt x="69" y="35"/>
                    </a:cubicBezTo>
                    <a:close/>
                    <a:moveTo>
                      <a:pt x="47" y="26"/>
                    </a:moveTo>
                    <a:cubicBezTo>
                      <a:pt x="47" y="26"/>
                      <a:pt x="47" y="26"/>
                      <a:pt x="47" y="26"/>
                    </a:cubicBezTo>
                    <a:cubicBezTo>
                      <a:pt x="45" y="25"/>
                      <a:pt x="44" y="22"/>
                      <a:pt x="45" y="20"/>
                    </a:cubicBezTo>
                    <a:cubicBezTo>
                      <a:pt x="46" y="18"/>
                      <a:pt x="48" y="17"/>
                      <a:pt x="50" y="18"/>
                    </a:cubicBezTo>
                    <a:cubicBezTo>
                      <a:pt x="52" y="19"/>
                      <a:pt x="53" y="21"/>
                      <a:pt x="52" y="24"/>
                    </a:cubicBezTo>
                    <a:cubicBezTo>
                      <a:pt x="52" y="24"/>
                      <a:pt x="52" y="24"/>
                      <a:pt x="52" y="24"/>
                    </a:cubicBezTo>
                    <a:cubicBezTo>
                      <a:pt x="51" y="26"/>
                      <a:pt x="49" y="26"/>
                      <a:pt x="47" y="26"/>
                    </a:cubicBezTo>
                    <a:close/>
                    <a:moveTo>
                      <a:pt x="25" y="17"/>
                    </a:moveTo>
                    <a:cubicBezTo>
                      <a:pt x="23" y="16"/>
                      <a:pt x="22" y="14"/>
                      <a:pt x="23" y="11"/>
                    </a:cubicBezTo>
                    <a:cubicBezTo>
                      <a:pt x="24" y="9"/>
                      <a:pt x="26" y="8"/>
                      <a:pt x="28" y="9"/>
                    </a:cubicBezTo>
                    <a:cubicBezTo>
                      <a:pt x="30" y="10"/>
                      <a:pt x="31" y="12"/>
                      <a:pt x="30" y="14"/>
                    </a:cubicBezTo>
                    <a:cubicBezTo>
                      <a:pt x="30" y="15"/>
                      <a:pt x="30" y="15"/>
                      <a:pt x="30" y="15"/>
                    </a:cubicBezTo>
                    <a:cubicBezTo>
                      <a:pt x="29" y="17"/>
                      <a:pt x="27" y="17"/>
                      <a:pt x="25" y="17"/>
                    </a:cubicBezTo>
                    <a:close/>
                    <a:moveTo>
                      <a:pt x="3" y="8"/>
                    </a:moveTo>
                    <a:cubicBezTo>
                      <a:pt x="1" y="8"/>
                      <a:pt x="0" y="5"/>
                      <a:pt x="0" y="3"/>
                    </a:cubicBezTo>
                    <a:cubicBezTo>
                      <a:pt x="1" y="1"/>
                      <a:pt x="3" y="0"/>
                      <a:pt x="5" y="1"/>
                    </a:cubicBezTo>
                    <a:cubicBezTo>
                      <a:pt x="7" y="2"/>
                      <a:pt x="9" y="4"/>
                      <a:pt x="8" y="6"/>
                    </a:cubicBezTo>
                    <a:cubicBezTo>
                      <a:pt x="7" y="7"/>
                      <a:pt x="7" y="7"/>
                      <a:pt x="7" y="7"/>
                    </a:cubicBezTo>
                    <a:cubicBezTo>
                      <a:pt x="7" y="8"/>
                      <a:pt x="5" y="9"/>
                      <a:pt x="3" y="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9" name="Group 18">
              <a:extLst>
                <a:ext uri="{FF2B5EF4-FFF2-40B4-BE49-F238E27FC236}">
                  <a16:creationId xmlns:a16="http://schemas.microsoft.com/office/drawing/2014/main" id="{188AB6FE-36A9-458C-A622-4AC6CE7950D3}"/>
                </a:ext>
                <a:ext uri="{C183D7F6-B498-43B3-948B-1728B52AA6E4}">
                  <adec:decorative xmlns:adec="http://schemas.microsoft.com/office/drawing/2017/decorative" val="1"/>
                </a:ext>
              </a:extLst>
            </p:cNvPr>
            <p:cNvGrpSpPr/>
            <p:nvPr/>
          </p:nvGrpSpPr>
          <p:grpSpPr>
            <a:xfrm>
              <a:off x="9515318" y="1341469"/>
              <a:ext cx="792154" cy="484008"/>
              <a:chOff x="9072563" y="1330325"/>
              <a:chExt cx="808038" cy="493713"/>
            </a:xfrm>
          </p:grpSpPr>
          <p:sp>
            <p:nvSpPr>
              <p:cNvPr id="85" name="Freeform 35">
                <a:extLst>
                  <a:ext uri="{FF2B5EF4-FFF2-40B4-BE49-F238E27FC236}">
                    <a16:creationId xmlns:a16="http://schemas.microsoft.com/office/drawing/2014/main" id="{B0DBA756-0360-4431-B3A8-6BB99BE8350F}"/>
                  </a:ext>
                </a:extLst>
              </p:cNvPr>
              <p:cNvSpPr>
                <a:spLocks noEditPoints="1"/>
              </p:cNvSpPr>
              <p:nvPr/>
            </p:nvSpPr>
            <p:spPr bwMode="auto">
              <a:xfrm>
                <a:off x="9072563" y="1330325"/>
                <a:ext cx="750888" cy="442913"/>
              </a:xfrm>
              <a:custGeom>
                <a:avLst/>
                <a:gdLst>
                  <a:gd name="T0" fmla="*/ 230 w 237"/>
                  <a:gd name="T1" fmla="*/ 137 h 139"/>
                  <a:gd name="T2" fmla="*/ 235 w 237"/>
                  <a:gd name="T3" fmla="*/ 131 h 139"/>
                  <a:gd name="T4" fmla="*/ 236 w 237"/>
                  <a:gd name="T5" fmla="*/ 137 h 139"/>
                  <a:gd name="T6" fmla="*/ 211 w 237"/>
                  <a:gd name="T7" fmla="*/ 122 h 139"/>
                  <a:gd name="T8" fmla="*/ 211 w 237"/>
                  <a:gd name="T9" fmla="*/ 117 h 139"/>
                  <a:gd name="T10" fmla="*/ 217 w 237"/>
                  <a:gd name="T11" fmla="*/ 121 h 139"/>
                  <a:gd name="T12" fmla="*/ 198 w 237"/>
                  <a:gd name="T13" fmla="*/ 107 h 139"/>
                  <a:gd name="T14" fmla="*/ 191 w 237"/>
                  <a:gd name="T15" fmla="*/ 103 h 139"/>
                  <a:gd name="T16" fmla="*/ 198 w 237"/>
                  <a:gd name="T17" fmla="*/ 107 h 139"/>
                  <a:gd name="T18" fmla="*/ 173 w 237"/>
                  <a:gd name="T19" fmla="*/ 94 h 139"/>
                  <a:gd name="T20" fmla="*/ 177 w 237"/>
                  <a:gd name="T21" fmla="*/ 88 h 139"/>
                  <a:gd name="T22" fmla="*/ 158 w 237"/>
                  <a:gd name="T23" fmla="*/ 80 h 139"/>
                  <a:gd name="T24" fmla="*/ 151 w 237"/>
                  <a:gd name="T25" fmla="*/ 76 h 139"/>
                  <a:gd name="T26" fmla="*/ 158 w 237"/>
                  <a:gd name="T27" fmla="*/ 80 h 139"/>
                  <a:gd name="T28" fmla="*/ 132 w 237"/>
                  <a:gd name="T29" fmla="*/ 69 h 139"/>
                  <a:gd name="T30" fmla="*/ 136 w 237"/>
                  <a:gd name="T31" fmla="*/ 62 h 139"/>
                  <a:gd name="T32" fmla="*/ 138 w 237"/>
                  <a:gd name="T33" fmla="*/ 68 h 139"/>
                  <a:gd name="T34" fmla="*/ 110 w 237"/>
                  <a:gd name="T35" fmla="*/ 52 h 139"/>
                  <a:gd name="T36" fmla="*/ 117 w 237"/>
                  <a:gd name="T37" fmla="*/ 56 h 139"/>
                  <a:gd name="T38" fmla="*/ 112 w 237"/>
                  <a:gd name="T39" fmla="*/ 57 h 139"/>
                  <a:gd name="T40" fmla="*/ 89 w 237"/>
                  <a:gd name="T41" fmla="*/ 41 h 139"/>
                  <a:gd name="T42" fmla="*/ 96 w 237"/>
                  <a:gd name="T43" fmla="*/ 44 h 139"/>
                  <a:gd name="T44" fmla="*/ 90 w 237"/>
                  <a:gd name="T45" fmla="*/ 46 h 139"/>
                  <a:gd name="T46" fmla="*/ 67 w 237"/>
                  <a:gd name="T47" fmla="*/ 30 h 139"/>
                  <a:gd name="T48" fmla="*/ 74 w 237"/>
                  <a:gd name="T49" fmla="*/ 34 h 139"/>
                  <a:gd name="T50" fmla="*/ 69 w 237"/>
                  <a:gd name="T51" fmla="*/ 36 h 139"/>
                  <a:gd name="T52" fmla="*/ 45 w 237"/>
                  <a:gd name="T53" fmla="*/ 21 h 139"/>
                  <a:gd name="T54" fmla="*/ 52 w 237"/>
                  <a:gd name="T55" fmla="*/ 24 h 139"/>
                  <a:gd name="T56" fmla="*/ 47 w 237"/>
                  <a:gd name="T57" fmla="*/ 26 h 139"/>
                  <a:gd name="T58" fmla="*/ 25 w 237"/>
                  <a:gd name="T59" fmla="*/ 17 h 139"/>
                  <a:gd name="T60" fmla="*/ 28 w 237"/>
                  <a:gd name="T61" fmla="*/ 9 h 139"/>
                  <a:gd name="T62" fmla="*/ 30 w 237"/>
                  <a:gd name="T63" fmla="*/ 15 h 139"/>
                  <a:gd name="T64" fmla="*/ 3 w 237"/>
                  <a:gd name="T65" fmla="*/ 8 h 139"/>
                  <a:gd name="T66" fmla="*/ 5 w 237"/>
                  <a:gd name="T67" fmla="*/ 1 h 139"/>
                  <a:gd name="T68" fmla="*/ 8 w 237"/>
                  <a:gd name="T69" fmla="*/ 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7" h="139">
                    <a:moveTo>
                      <a:pt x="236" y="137"/>
                    </a:moveTo>
                    <a:cubicBezTo>
                      <a:pt x="234" y="139"/>
                      <a:pt x="232" y="139"/>
                      <a:pt x="230" y="137"/>
                    </a:cubicBezTo>
                    <a:cubicBezTo>
                      <a:pt x="228" y="136"/>
                      <a:pt x="228" y="133"/>
                      <a:pt x="229" y="132"/>
                    </a:cubicBezTo>
                    <a:cubicBezTo>
                      <a:pt x="231" y="130"/>
                      <a:pt x="233" y="130"/>
                      <a:pt x="235" y="131"/>
                    </a:cubicBezTo>
                    <a:cubicBezTo>
                      <a:pt x="237" y="132"/>
                      <a:pt x="237" y="135"/>
                      <a:pt x="236" y="136"/>
                    </a:cubicBezTo>
                    <a:lnTo>
                      <a:pt x="236" y="137"/>
                    </a:lnTo>
                    <a:close/>
                    <a:moveTo>
                      <a:pt x="217" y="122"/>
                    </a:moveTo>
                    <a:cubicBezTo>
                      <a:pt x="216" y="124"/>
                      <a:pt x="213" y="124"/>
                      <a:pt x="211" y="122"/>
                    </a:cubicBezTo>
                    <a:cubicBezTo>
                      <a:pt x="211" y="122"/>
                      <a:pt x="211" y="122"/>
                      <a:pt x="211" y="122"/>
                    </a:cubicBezTo>
                    <a:cubicBezTo>
                      <a:pt x="210" y="121"/>
                      <a:pt x="209" y="119"/>
                      <a:pt x="211" y="117"/>
                    </a:cubicBezTo>
                    <a:cubicBezTo>
                      <a:pt x="212" y="115"/>
                      <a:pt x="215" y="115"/>
                      <a:pt x="216" y="116"/>
                    </a:cubicBezTo>
                    <a:cubicBezTo>
                      <a:pt x="218" y="117"/>
                      <a:pt x="218" y="120"/>
                      <a:pt x="217" y="121"/>
                    </a:cubicBezTo>
                    <a:lnTo>
                      <a:pt x="217" y="122"/>
                    </a:lnTo>
                    <a:close/>
                    <a:moveTo>
                      <a:pt x="198" y="107"/>
                    </a:moveTo>
                    <a:cubicBezTo>
                      <a:pt x="197" y="109"/>
                      <a:pt x="194" y="109"/>
                      <a:pt x="192" y="108"/>
                    </a:cubicBezTo>
                    <a:cubicBezTo>
                      <a:pt x="190" y="107"/>
                      <a:pt x="190" y="104"/>
                      <a:pt x="191" y="103"/>
                    </a:cubicBezTo>
                    <a:cubicBezTo>
                      <a:pt x="193" y="101"/>
                      <a:pt x="195" y="100"/>
                      <a:pt x="197" y="102"/>
                    </a:cubicBezTo>
                    <a:cubicBezTo>
                      <a:pt x="199" y="103"/>
                      <a:pt x="199" y="105"/>
                      <a:pt x="198" y="107"/>
                    </a:cubicBezTo>
                    <a:close/>
                    <a:moveTo>
                      <a:pt x="178" y="93"/>
                    </a:moveTo>
                    <a:cubicBezTo>
                      <a:pt x="177" y="95"/>
                      <a:pt x="175" y="96"/>
                      <a:pt x="173" y="94"/>
                    </a:cubicBezTo>
                    <a:cubicBezTo>
                      <a:pt x="171" y="93"/>
                      <a:pt x="170" y="91"/>
                      <a:pt x="172" y="89"/>
                    </a:cubicBezTo>
                    <a:cubicBezTo>
                      <a:pt x="173" y="87"/>
                      <a:pt x="175" y="87"/>
                      <a:pt x="177" y="88"/>
                    </a:cubicBezTo>
                    <a:cubicBezTo>
                      <a:pt x="179" y="89"/>
                      <a:pt x="179" y="91"/>
                      <a:pt x="178" y="93"/>
                    </a:cubicBezTo>
                    <a:close/>
                    <a:moveTo>
                      <a:pt x="158" y="80"/>
                    </a:moveTo>
                    <a:cubicBezTo>
                      <a:pt x="157" y="82"/>
                      <a:pt x="155" y="83"/>
                      <a:pt x="153" y="81"/>
                    </a:cubicBezTo>
                    <a:cubicBezTo>
                      <a:pt x="151" y="80"/>
                      <a:pt x="150" y="78"/>
                      <a:pt x="151" y="76"/>
                    </a:cubicBezTo>
                    <a:cubicBezTo>
                      <a:pt x="153" y="74"/>
                      <a:pt x="155" y="73"/>
                      <a:pt x="157" y="75"/>
                    </a:cubicBezTo>
                    <a:cubicBezTo>
                      <a:pt x="159" y="76"/>
                      <a:pt x="159" y="78"/>
                      <a:pt x="158" y="80"/>
                    </a:cubicBezTo>
                    <a:close/>
                    <a:moveTo>
                      <a:pt x="138" y="68"/>
                    </a:moveTo>
                    <a:cubicBezTo>
                      <a:pt x="137" y="69"/>
                      <a:pt x="134" y="70"/>
                      <a:pt x="132" y="69"/>
                    </a:cubicBezTo>
                    <a:cubicBezTo>
                      <a:pt x="130" y="68"/>
                      <a:pt x="130" y="65"/>
                      <a:pt x="131" y="64"/>
                    </a:cubicBezTo>
                    <a:cubicBezTo>
                      <a:pt x="132" y="62"/>
                      <a:pt x="134" y="61"/>
                      <a:pt x="136" y="62"/>
                    </a:cubicBezTo>
                    <a:cubicBezTo>
                      <a:pt x="136" y="62"/>
                      <a:pt x="136" y="62"/>
                      <a:pt x="136" y="62"/>
                    </a:cubicBezTo>
                    <a:cubicBezTo>
                      <a:pt x="138" y="63"/>
                      <a:pt x="139" y="66"/>
                      <a:pt x="138" y="68"/>
                    </a:cubicBezTo>
                    <a:close/>
                    <a:moveTo>
                      <a:pt x="112" y="57"/>
                    </a:moveTo>
                    <a:cubicBezTo>
                      <a:pt x="110" y="56"/>
                      <a:pt x="109" y="54"/>
                      <a:pt x="110" y="52"/>
                    </a:cubicBezTo>
                    <a:cubicBezTo>
                      <a:pt x="111" y="50"/>
                      <a:pt x="113" y="49"/>
                      <a:pt x="115" y="50"/>
                    </a:cubicBezTo>
                    <a:cubicBezTo>
                      <a:pt x="117" y="51"/>
                      <a:pt x="118" y="54"/>
                      <a:pt x="117" y="56"/>
                    </a:cubicBezTo>
                    <a:cubicBezTo>
                      <a:pt x="117" y="56"/>
                      <a:pt x="117" y="56"/>
                      <a:pt x="117" y="56"/>
                    </a:cubicBezTo>
                    <a:cubicBezTo>
                      <a:pt x="116" y="58"/>
                      <a:pt x="113" y="58"/>
                      <a:pt x="112" y="57"/>
                    </a:cubicBezTo>
                    <a:close/>
                    <a:moveTo>
                      <a:pt x="90" y="46"/>
                    </a:moveTo>
                    <a:cubicBezTo>
                      <a:pt x="88" y="45"/>
                      <a:pt x="88" y="43"/>
                      <a:pt x="89" y="41"/>
                    </a:cubicBezTo>
                    <a:cubicBezTo>
                      <a:pt x="90" y="39"/>
                      <a:pt x="92" y="38"/>
                      <a:pt x="94" y="39"/>
                    </a:cubicBezTo>
                    <a:cubicBezTo>
                      <a:pt x="96" y="40"/>
                      <a:pt x="97" y="42"/>
                      <a:pt x="96" y="44"/>
                    </a:cubicBezTo>
                    <a:cubicBezTo>
                      <a:pt x="96" y="44"/>
                      <a:pt x="96" y="44"/>
                      <a:pt x="96" y="44"/>
                    </a:cubicBezTo>
                    <a:cubicBezTo>
                      <a:pt x="95" y="46"/>
                      <a:pt x="92" y="47"/>
                      <a:pt x="90" y="46"/>
                    </a:cubicBezTo>
                    <a:close/>
                    <a:moveTo>
                      <a:pt x="69" y="36"/>
                    </a:moveTo>
                    <a:cubicBezTo>
                      <a:pt x="67" y="35"/>
                      <a:pt x="66" y="32"/>
                      <a:pt x="67" y="30"/>
                    </a:cubicBezTo>
                    <a:cubicBezTo>
                      <a:pt x="68" y="28"/>
                      <a:pt x="70" y="27"/>
                      <a:pt x="72" y="28"/>
                    </a:cubicBezTo>
                    <a:cubicBezTo>
                      <a:pt x="74" y="29"/>
                      <a:pt x="75" y="32"/>
                      <a:pt x="74" y="34"/>
                    </a:cubicBezTo>
                    <a:cubicBezTo>
                      <a:pt x="74" y="34"/>
                      <a:pt x="74" y="34"/>
                      <a:pt x="74" y="34"/>
                    </a:cubicBezTo>
                    <a:cubicBezTo>
                      <a:pt x="73" y="36"/>
                      <a:pt x="71" y="36"/>
                      <a:pt x="69" y="36"/>
                    </a:cubicBezTo>
                    <a:close/>
                    <a:moveTo>
                      <a:pt x="47" y="26"/>
                    </a:moveTo>
                    <a:cubicBezTo>
                      <a:pt x="45" y="25"/>
                      <a:pt x="44" y="23"/>
                      <a:pt x="45" y="21"/>
                    </a:cubicBezTo>
                    <a:cubicBezTo>
                      <a:pt x="46" y="19"/>
                      <a:pt x="48" y="18"/>
                      <a:pt x="50" y="18"/>
                    </a:cubicBezTo>
                    <a:cubicBezTo>
                      <a:pt x="52" y="19"/>
                      <a:pt x="53" y="22"/>
                      <a:pt x="52" y="24"/>
                    </a:cubicBezTo>
                    <a:cubicBezTo>
                      <a:pt x="52" y="24"/>
                      <a:pt x="52" y="24"/>
                      <a:pt x="52" y="24"/>
                    </a:cubicBezTo>
                    <a:cubicBezTo>
                      <a:pt x="51" y="26"/>
                      <a:pt x="49" y="27"/>
                      <a:pt x="47" y="26"/>
                    </a:cubicBezTo>
                    <a:close/>
                    <a:moveTo>
                      <a:pt x="25" y="17"/>
                    </a:moveTo>
                    <a:cubicBezTo>
                      <a:pt x="25" y="17"/>
                      <a:pt x="25" y="17"/>
                      <a:pt x="25" y="17"/>
                    </a:cubicBezTo>
                    <a:cubicBezTo>
                      <a:pt x="23" y="16"/>
                      <a:pt x="22" y="14"/>
                      <a:pt x="23" y="12"/>
                    </a:cubicBezTo>
                    <a:cubicBezTo>
                      <a:pt x="24" y="9"/>
                      <a:pt x="26" y="8"/>
                      <a:pt x="28" y="9"/>
                    </a:cubicBezTo>
                    <a:cubicBezTo>
                      <a:pt x="30" y="10"/>
                      <a:pt x="31" y="12"/>
                      <a:pt x="30" y="14"/>
                    </a:cubicBezTo>
                    <a:cubicBezTo>
                      <a:pt x="30" y="15"/>
                      <a:pt x="30" y="15"/>
                      <a:pt x="30" y="15"/>
                    </a:cubicBezTo>
                    <a:cubicBezTo>
                      <a:pt x="29" y="17"/>
                      <a:pt x="27" y="17"/>
                      <a:pt x="25" y="17"/>
                    </a:cubicBezTo>
                    <a:close/>
                    <a:moveTo>
                      <a:pt x="3" y="8"/>
                    </a:moveTo>
                    <a:cubicBezTo>
                      <a:pt x="1" y="8"/>
                      <a:pt x="0" y="5"/>
                      <a:pt x="0" y="3"/>
                    </a:cubicBezTo>
                    <a:cubicBezTo>
                      <a:pt x="1" y="1"/>
                      <a:pt x="3" y="0"/>
                      <a:pt x="5" y="1"/>
                    </a:cubicBezTo>
                    <a:cubicBezTo>
                      <a:pt x="8" y="2"/>
                      <a:pt x="9" y="4"/>
                      <a:pt x="8" y="6"/>
                    </a:cubicBezTo>
                    <a:cubicBezTo>
                      <a:pt x="8" y="7"/>
                      <a:pt x="8" y="7"/>
                      <a:pt x="8" y="7"/>
                    </a:cubicBezTo>
                    <a:cubicBezTo>
                      <a:pt x="7" y="8"/>
                      <a:pt x="5" y="9"/>
                      <a:pt x="3" y="8"/>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37">
                <a:extLst>
                  <a:ext uri="{FF2B5EF4-FFF2-40B4-BE49-F238E27FC236}">
                    <a16:creationId xmlns:a16="http://schemas.microsoft.com/office/drawing/2014/main" id="{3DCEBB71-6FA5-4BE7-AFE6-8C907A917E18}"/>
                  </a:ext>
                </a:extLst>
              </p:cNvPr>
              <p:cNvSpPr>
                <a:spLocks/>
              </p:cNvSpPr>
              <p:nvPr/>
            </p:nvSpPr>
            <p:spPr bwMode="auto">
              <a:xfrm>
                <a:off x="9826626" y="1763713"/>
                <a:ext cx="53975" cy="60325"/>
              </a:xfrm>
              <a:custGeom>
                <a:avLst/>
                <a:gdLst>
                  <a:gd name="T0" fmla="*/ 17 w 17"/>
                  <a:gd name="T1" fmla="*/ 17 h 19"/>
                  <a:gd name="T2" fmla="*/ 3 w 17"/>
                  <a:gd name="T3" fmla="*/ 18 h 19"/>
                  <a:gd name="T4" fmla="*/ 0 w 17"/>
                  <a:gd name="T5" fmla="*/ 16 h 19"/>
                  <a:gd name="T6" fmla="*/ 2 w 17"/>
                  <a:gd name="T7" fmla="*/ 12 h 19"/>
                  <a:gd name="T8" fmla="*/ 11 w 17"/>
                  <a:gd name="T9" fmla="*/ 12 h 19"/>
                  <a:gd name="T10" fmla="*/ 10 w 17"/>
                  <a:gd name="T11" fmla="*/ 4 h 19"/>
                  <a:gd name="T12" fmla="*/ 13 w 17"/>
                  <a:gd name="T13" fmla="*/ 1 h 19"/>
                  <a:gd name="T14" fmla="*/ 16 w 17"/>
                  <a:gd name="T15" fmla="*/ 3 h 19"/>
                  <a:gd name="T16" fmla="*/ 17 w 17"/>
                  <a:gd name="T1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17" y="17"/>
                    </a:moveTo>
                    <a:cubicBezTo>
                      <a:pt x="3" y="18"/>
                      <a:pt x="3" y="18"/>
                      <a:pt x="3" y="18"/>
                    </a:cubicBezTo>
                    <a:cubicBezTo>
                      <a:pt x="1" y="19"/>
                      <a:pt x="0" y="17"/>
                      <a:pt x="0" y="16"/>
                    </a:cubicBezTo>
                    <a:cubicBezTo>
                      <a:pt x="0" y="14"/>
                      <a:pt x="1" y="13"/>
                      <a:pt x="2" y="12"/>
                    </a:cubicBezTo>
                    <a:cubicBezTo>
                      <a:pt x="11" y="12"/>
                      <a:pt x="11" y="12"/>
                      <a:pt x="11" y="12"/>
                    </a:cubicBezTo>
                    <a:cubicBezTo>
                      <a:pt x="10" y="4"/>
                      <a:pt x="10" y="4"/>
                      <a:pt x="10" y="4"/>
                    </a:cubicBezTo>
                    <a:cubicBezTo>
                      <a:pt x="10" y="2"/>
                      <a:pt x="11" y="1"/>
                      <a:pt x="13" y="1"/>
                    </a:cubicBezTo>
                    <a:cubicBezTo>
                      <a:pt x="14" y="0"/>
                      <a:pt x="16" y="2"/>
                      <a:pt x="16" y="3"/>
                    </a:cubicBezTo>
                    <a:lnTo>
                      <a:pt x="17" y="1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0" name="Group 19">
              <a:extLst>
                <a:ext uri="{FF2B5EF4-FFF2-40B4-BE49-F238E27FC236}">
                  <a16:creationId xmlns:a16="http://schemas.microsoft.com/office/drawing/2014/main" id="{7029FFEB-E76D-42DD-9706-1F16B8760B38}"/>
                </a:ext>
                <a:ext uri="{C183D7F6-B498-43B3-948B-1728B52AA6E4}">
                  <adec:decorative xmlns:adec="http://schemas.microsoft.com/office/drawing/2017/decorative" val="1"/>
                </a:ext>
              </a:extLst>
            </p:cNvPr>
            <p:cNvGrpSpPr/>
            <p:nvPr/>
          </p:nvGrpSpPr>
          <p:grpSpPr>
            <a:xfrm>
              <a:off x="7090614" y="1207627"/>
              <a:ext cx="924438" cy="549372"/>
              <a:chOff x="6599238" y="1193800"/>
              <a:chExt cx="942975" cy="560388"/>
            </a:xfrm>
          </p:grpSpPr>
          <p:sp>
            <p:nvSpPr>
              <p:cNvPr id="83" name="Freeform 38">
                <a:extLst>
                  <a:ext uri="{FF2B5EF4-FFF2-40B4-BE49-F238E27FC236}">
                    <a16:creationId xmlns:a16="http://schemas.microsoft.com/office/drawing/2014/main" id="{201CEA40-EB36-40B1-9EBF-061F409404B4}"/>
                  </a:ext>
                </a:extLst>
              </p:cNvPr>
              <p:cNvSpPr>
                <a:spLocks/>
              </p:cNvSpPr>
              <p:nvPr/>
            </p:nvSpPr>
            <p:spPr bwMode="auto">
              <a:xfrm>
                <a:off x="6599238" y="1695450"/>
                <a:ext cx="57150" cy="58738"/>
              </a:xfrm>
              <a:custGeom>
                <a:avLst/>
                <a:gdLst>
                  <a:gd name="T0" fmla="*/ 0 w 18"/>
                  <a:gd name="T1" fmla="*/ 17 h 18"/>
                  <a:gd name="T2" fmla="*/ 1 w 18"/>
                  <a:gd name="T3" fmla="*/ 3 h 18"/>
                  <a:gd name="T4" fmla="*/ 4 w 18"/>
                  <a:gd name="T5" fmla="*/ 1 h 18"/>
                  <a:gd name="T6" fmla="*/ 7 w 18"/>
                  <a:gd name="T7" fmla="*/ 4 h 18"/>
                  <a:gd name="T8" fmla="*/ 7 w 18"/>
                  <a:gd name="T9" fmla="*/ 12 h 18"/>
                  <a:gd name="T10" fmla="*/ 15 w 18"/>
                  <a:gd name="T11" fmla="*/ 12 h 18"/>
                  <a:gd name="T12" fmla="*/ 18 w 18"/>
                  <a:gd name="T13" fmla="*/ 15 h 18"/>
                  <a:gd name="T14" fmla="*/ 14 w 18"/>
                  <a:gd name="T15" fmla="*/ 18 h 18"/>
                  <a:gd name="T16" fmla="*/ 0 w 18"/>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0" y="17"/>
                    </a:moveTo>
                    <a:cubicBezTo>
                      <a:pt x="1" y="3"/>
                      <a:pt x="1" y="3"/>
                      <a:pt x="1" y="3"/>
                    </a:cubicBezTo>
                    <a:cubicBezTo>
                      <a:pt x="1" y="2"/>
                      <a:pt x="3" y="0"/>
                      <a:pt x="4" y="1"/>
                    </a:cubicBezTo>
                    <a:cubicBezTo>
                      <a:pt x="6" y="1"/>
                      <a:pt x="7" y="2"/>
                      <a:pt x="7" y="4"/>
                    </a:cubicBezTo>
                    <a:cubicBezTo>
                      <a:pt x="7" y="12"/>
                      <a:pt x="7" y="12"/>
                      <a:pt x="7" y="12"/>
                    </a:cubicBezTo>
                    <a:cubicBezTo>
                      <a:pt x="15" y="12"/>
                      <a:pt x="15" y="12"/>
                      <a:pt x="15" y="12"/>
                    </a:cubicBezTo>
                    <a:cubicBezTo>
                      <a:pt x="16" y="12"/>
                      <a:pt x="18" y="14"/>
                      <a:pt x="18" y="15"/>
                    </a:cubicBezTo>
                    <a:cubicBezTo>
                      <a:pt x="17" y="17"/>
                      <a:pt x="16" y="18"/>
                      <a:pt x="14" y="18"/>
                    </a:cubicBezTo>
                    <a:lnTo>
                      <a:pt x="0" y="1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40">
                <a:extLst>
                  <a:ext uri="{FF2B5EF4-FFF2-40B4-BE49-F238E27FC236}">
                    <a16:creationId xmlns:a16="http://schemas.microsoft.com/office/drawing/2014/main" id="{62138264-C751-404D-B510-22619C688944}"/>
                  </a:ext>
                </a:extLst>
              </p:cNvPr>
              <p:cNvSpPr>
                <a:spLocks noEditPoints="1"/>
              </p:cNvSpPr>
              <p:nvPr/>
            </p:nvSpPr>
            <p:spPr bwMode="auto">
              <a:xfrm>
                <a:off x="6656388" y="1193800"/>
                <a:ext cx="885825" cy="511175"/>
              </a:xfrm>
              <a:custGeom>
                <a:avLst/>
                <a:gdLst>
                  <a:gd name="T0" fmla="*/ 276 w 279"/>
                  <a:gd name="T1" fmla="*/ 9 h 161"/>
                  <a:gd name="T2" fmla="*/ 273 w 279"/>
                  <a:gd name="T3" fmla="*/ 1 h 161"/>
                  <a:gd name="T4" fmla="*/ 278 w 279"/>
                  <a:gd name="T5" fmla="*/ 4 h 161"/>
                  <a:gd name="T6" fmla="*/ 253 w 279"/>
                  <a:gd name="T7" fmla="*/ 16 h 161"/>
                  <a:gd name="T8" fmla="*/ 250 w 279"/>
                  <a:gd name="T9" fmla="*/ 9 h 161"/>
                  <a:gd name="T10" fmla="*/ 255 w 279"/>
                  <a:gd name="T11" fmla="*/ 10 h 161"/>
                  <a:gd name="T12" fmla="*/ 233 w 279"/>
                  <a:gd name="T13" fmla="*/ 19 h 161"/>
                  <a:gd name="T14" fmla="*/ 226 w 279"/>
                  <a:gd name="T15" fmla="*/ 22 h 161"/>
                  <a:gd name="T16" fmla="*/ 233 w 279"/>
                  <a:gd name="T17" fmla="*/ 19 h 161"/>
                  <a:gd name="T18" fmla="*/ 209 w 279"/>
                  <a:gd name="T19" fmla="*/ 34 h 161"/>
                  <a:gd name="T20" fmla="*/ 206 w 279"/>
                  <a:gd name="T21" fmla="*/ 26 h 161"/>
                  <a:gd name="T22" fmla="*/ 189 w 279"/>
                  <a:gd name="T23" fmla="*/ 38 h 161"/>
                  <a:gd name="T24" fmla="*/ 182 w 279"/>
                  <a:gd name="T25" fmla="*/ 41 h 161"/>
                  <a:gd name="T26" fmla="*/ 189 w 279"/>
                  <a:gd name="T27" fmla="*/ 38 h 161"/>
                  <a:gd name="T28" fmla="*/ 165 w 279"/>
                  <a:gd name="T29" fmla="*/ 54 h 161"/>
                  <a:gd name="T30" fmla="*/ 162 w 279"/>
                  <a:gd name="T31" fmla="*/ 47 h 161"/>
                  <a:gd name="T32" fmla="*/ 146 w 279"/>
                  <a:gd name="T33" fmla="*/ 59 h 161"/>
                  <a:gd name="T34" fmla="*/ 139 w 279"/>
                  <a:gd name="T35" fmla="*/ 63 h 161"/>
                  <a:gd name="T36" fmla="*/ 146 w 279"/>
                  <a:gd name="T37" fmla="*/ 59 h 161"/>
                  <a:gd name="T38" fmla="*/ 118 w 279"/>
                  <a:gd name="T39" fmla="*/ 75 h 161"/>
                  <a:gd name="T40" fmla="*/ 125 w 279"/>
                  <a:gd name="T41" fmla="*/ 71 h 161"/>
                  <a:gd name="T42" fmla="*/ 103 w 279"/>
                  <a:gd name="T43" fmla="*/ 89 h 161"/>
                  <a:gd name="T44" fmla="*/ 99 w 279"/>
                  <a:gd name="T45" fmla="*/ 82 h 161"/>
                  <a:gd name="T46" fmla="*/ 104 w 279"/>
                  <a:gd name="T47" fmla="*/ 83 h 161"/>
                  <a:gd name="T48" fmla="*/ 83 w 279"/>
                  <a:gd name="T49" fmla="*/ 102 h 161"/>
                  <a:gd name="T50" fmla="*/ 78 w 279"/>
                  <a:gd name="T51" fmla="*/ 95 h 161"/>
                  <a:gd name="T52" fmla="*/ 84 w 279"/>
                  <a:gd name="T53" fmla="*/ 96 h 161"/>
                  <a:gd name="T54" fmla="*/ 63 w 279"/>
                  <a:gd name="T55" fmla="*/ 115 h 161"/>
                  <a:gd name="T56" fmla="*/ 58 w 279"/>
                  <a:gd name="T57" fmla="*/ 109 h 161"/>
                  <a:gd name="T58" fmla="*/ 64 w 279"/>
                  <a:gd name="T59" fmla="*/ 110 h 161"/>
                  <a:gd name="T60" fmla="*/ 44 w 279"/>
                  <a:gd name="T61" fmla="*/ 129 h 161"/>
                  <a:gd name="T62" fmla="*/ 38 w 279"/>
                  <a:gd name="T63" fmla="*/ 128 h 161"/>
                  <a:gd name="T64" fmla="*/ 45 w 279"/>
                  <a:gd name="T65" fmla="*/ 124 h 161"/>
                  <a:gd name="T66" fmla="*/ 44 w 279"/>
                  <a:gd name="T67" fmla="*/ 129 h 161"/>
                  <a:gd name="T68" fmla="*/ 19 w 279"/>
                  <a:gd name="T69" fmla="*/ 143 h 161"/>
                  <a:gd name="T70" fmla="*/ 26 w 279"/>
                  <a:gd name="T71" fmla="*/ 138 h 161"/>
                  <a:gd name="T72" fmla="*/ 25 w 279"/>
                  <a:gd name="T73" fmla="*/ 144 h 161"/>
                  <a:gd name="T74" fmla="*/ 1 w 279"/>
                  <a:gd name="T75" fmla="*/ 159 h 161"/>
                  <a:gd name="T76" fmla="*/ 7 w 279"/>
                  <a:gd name="T77" fmla="*/ 153 h 161"/>
                  <a:gd name="T78" fmla="*/ 7 w 279"/>
                  <a:gd name="T79" fmla="*/ 15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161">
                    <a:moveTo>
                      <a:pt x="278" y="4"/>
                    </a:moveTo>
                    <a:cubicBezTo>
                      <a:pt x="279" y="6"/>
                      <a:pt x="278" y="8"/>
                      <a:pt x="276" y="9"/>
                    </a:cubicBezTo>
                    <a:cubicBezTo>
                      <a:pt x="274" y="9"/>
                      <a:pt x="271" y="8"/>
                      <a:pt x="271" y="6"/>
                    </a:cubicBezTo>
                    <a:cubicBezTo>
                      <a:pt x="270" y="4"/>
                      <a:pt x="271" y="2"/>
                      <a:pt x="273" y="1"/>
                    </a:cubicBezTo>
                    <a:cubicBezTo>
                      <a:pt x="275" y="0"/>
                      <a:pt x="277" y="1"/>
                      <a:pt x="278" y="3"/>
                    </a:cubicBezTo>
                    <a:lnTo>
                      <a:pt x="278" y="4"/>
                    </a:lnTo>
                    <a:close/>
                    <a:moveTo>
                      <a:pt x="256" y="11"/>
                    </a:moveTo>
                    <a:cubicBezTo>
                      <a:pt x="256" y="13"/>
                      <a:pt x="255" y="15"/>
                      <a:pt x="253" y="16"/>
                    </a:cubicBezTo>
                    <a:cubicBezTo>
                      <a:pt x="251" y="17"/>
                      <a:pt x="249" y="16"/>
                      <a:pt x="248" y="14"/>
                    </a:cubicBezTo>
                    <a:cubicBezTo>
                      <a:pt x="247" y="12"/>
                      <a:pt x="248" y="9"/>
                      <a:pt x="250" y="9"/>
                    </a:cubicBezTo>
                    <a:cubicBezTo>
                      <a:pt x="250" y="9"/>
                      <a:pt x="250" y="9"/>
                      <a:pt x="250" y="9"/>
                    </a:cubicBezTo>
                    <a:cubicBezTo>
                      <a:pt x="252" y="8"/>
                      <a:pt x="254" y="9"/>
                      <a:pt x="255" y="10"/>
                    </a:cubicBezTo>
                    <a:lnTo>
                      <a:pt x="256" y="11"/>
                    </a:lnTo>
                    <a:close/>
                    <a:moveTo>
                      <a:pt x="233" y="19"/>
                    </a:moveTo>
                    <a:cubicBezTo>
                      <a:pt x="234" y="21"/>
                      <a:pt x="233" y="24"/>
                      <a:pt x="231" y="25"/>
                    </a:cubicBezTo>
                    <a:cubicBezTo>
                      <a:pt x="229" y="25"/>
                      <a:pt x="226" y="24"/>
                      <a:pt x="226" y="22"/>
                    </a:cubicBezTo>
                    <a:cubicBezTo>
                      <a:pt x="225" y="20"/>
                      <a:pt x="226" y="18"/>
                      <a:pt x="228" y="17"/>
                    </a:cubicBezTo>
                    <a:cubicBezTo>
                      <a:pt x="230" y="16"/>
                      <a:pt x="232" y="17"/>
                      <a:pt x="233" y="19"/>
                    </a:cubicBezTo>
                    <a:close/>
                    <a:moveTo>
                      <a:pt x="211" y="28"/>
                    </a:moveTo>
                    <a:cubicBezTo>
                      <a:pt x="212" y="30"/>
                      <a:pt x="211" y="33"/>
                      <a:pt x="209" y="34"/>
                    </a:cubicBezTo>
                    <a:cubicBezTo>
                      <a:pt x="207" y="35"/>
                      <a:pt x="204" y="34"/>
                      <a:pt x="203" y="32"/>
                    </a:cubicBezTo>
                    <a:cubicBezTo>
                      <a:pt x="203" y="30"/>
                      <a:pt x="204" y="27"/>
                      <a:pt x="206" y="26"/>
                    </a:cubicBezTo>
                    <a:cubicBezTo>
                      <a:pt x="207" y="26"/>
                      <a:pt x="210" y="26"/>
                      <a:pt x="211" y="28"/>
                    </a:cubicBezTo>
                    <a:close/>
                    <a:moveTo>
                      <a:pt x="189" y="38"/>
                    </a:moveTo>
                    <a:cubicBezTo>
                      <a:pt x="190" y="40"/>
                      <a:pt x="189" y="42"/>
                      <a:pt x="187" y="43"/>
                    </a:cubicBezTo>
                    <a:cubicBezTo>
                      <a:pt x="185" y="44"/>
                      <a:pt x="183" y="43"/>
                      <a:pt x="182" y="41"/>
                    </a:cubicBezTo>
                    <a:cubicBezTo>
                      <a:pt x="181" y="39"/>
                      <a:pt x="182" y="37"/>
                      <a:pt x="184" y="36"/>
                    </a:cubicBezTo>
                    <a:cubicBezTo>
                      <a:pt x="185" y="35"/>
                      <a:pt x="188" y="36"/>
                      <a:pt x="189" y="38"/>
                    </a:cubicBezTo>
                    <a:close/>
                    <a:moveTo>
                      <a:pt x="167" y="48"/>
                    </a:moveTo>
                    <a:cubicBezTo>
                      <a:pt x="168" y="50"/>
                      <a:pt x="167" y="53"/>
                      <a:pt x="165" y="54"/>
                    </a:cubicBezTo>
                    <a:cubicBezTo>
                      <a:pt x="163" y="55"/>
                      <a:pt x="161" y="54"/>
                      <a:pt x="160" y="52"/>
                    </a:cubicBezTo>
                    <a:cubicBezTo>
                      <a:pt x="159" y="50"/>
                      <a:pt x="160" y="48"/>
                      <a:pt x="162" y="47"/>
                    </a:cubicBezTo>
                    <a:cubicBezTo>
                      <a:pt x="164" y="46"/>
                      <a:pt x="166" y="46"/>
                      <a:pt x="167" y="48"/>
                    </a:cubicBezTo>
                    <a:close/>
                    <a:moveTo>
                      <a:pt x="146" y="59"/>
                    </a:moveTo>
                    <a:cubicBezTo>
                      <a:pt x="147" y="61"/>
                      <a:pt x="146" y="64"/>
                      <a:pt x="144" y="65"/>
                    </a:cubicBezTo>
                    <a:cubicBezTo>
                      <a:pt x="142" y="66"/>
                      <a:pt x="140" y="65"/>
                      <a:pt x="139" y="63"/>
                    </a:cubicBezTo>
                    <a:cubicBezTo>
                      <a:pt x="138" y="61"/>
                      <a:pt x="139" y="59"/>
                      <a:pt x="140" y="58"/>
                    </a:cubicBezTo>
                    <a:cubicBezTo>
                      <a:pt x="142" y="57"/>
                      <a:pt x="145" y="58"/>
                      <a:pt x="146" y="59"/>
                    </a:cubicBezTo>
                    <a:close/>
                    <a:moveTo>
                      <a:pt x="123" y="77"/>
                    </a:moveTo>
                    <a:cubicBezTo>
                      <a:pt x="122" y="78"/>
                      <a:pt x="119" y="77"/>
                      <a:pt x="118" y="75"/>
                    </a:cubicBezTo>
                    <a:cubicBezTo>
                      <a:pt x="117" y="73"/>
                      <a:pt x="117" y="71"/>
                      <a:pt x="119" y="70"/>
                    </a:cubicBezTo>
                    <a:cubicBezTo>
                      <a:pt x="121" y="69"/>
                      <a:pt x="124" y="69"/>
                      <a:pt x="125" y="71"/>
                    </a:cubicBezTo>
                    <a:cubicBezTo>
                      <a:pt x="126" y="73"/>
                      <a:pt x="125" y="75"/>
                      <a:pt x="123" y="77"/>
                    </a:cubicBezTo>
                    <a:close/>
                    <a:moveTo>
                      <a:pt x="103" y="89"/>
                    </a:moveTo>
                    <a:cubicBezTo>
                      <a:pt x="101" y="90"/>
                      <a:pt x="99" y="89"/>
                      <a:pt x="97" y="88"/>
                    </a:cubicBezTo>
                    <a:cubicBezTo>
                      <a:pt x="96" y="86"/>
                      <a:pt x="97" y="83"/>
                      <a:pt x="99" y="82"/>
                    </a:cubicBezTo>
                    <a:cubicBezTo>
                      <a:pt x="101" y="81"/>
                      <a:pt x="103" y="81"/>
                      <a:pt x="104" y="83"/>
                    </a:cubicBezTo>
                    <a:cubicBezTo>
                      <a:pt x="104" y="83"/>
                      <a:pt x="104" y="83"/>
                      <a:pt x="104" y="83"/>
                    </a:cubicBezTo>
                    <a:cubicBezTo>
                      <a:pt x="105" y="85"/>
                      <a:pt x="105" y="88"/>
                      <a:pt x="103" y="89"/>
                    </a:cubicBezTo>
                    <a:close/>
                    <a:moveTo>
                      <a:pt x="83" y="102"/>
                    </a:moveTo>
                    <a:cubicBezTo>
                      <a:pt x="81" y="103"/>
                      <a:pt x="79" y="102"/>
                      <a:pt x="77" y="101"/>
                    </a:cubicBezTo>
                    <a:cubicBezTo>
                      <a:pt x="76" y="99"/>
                      <a:pt x="77" y="96"/>
                      <a:pt x="78" y="95"/>
                    </a:cubicBezTo>
                    <a:cubicBezTo>
                      <a:pt x="80" y="94"/>
                      <a:pt x="83" y="94"/>
                      <a:pt x="84" y="96"/>
                    </a:cubicBezTo>
                    <a:cubicBezTo>
                      <a:pt x="84" y="96"/>
                      <a:pt x="84" y="96"/>
                      <a:pt x="84" y="96"/>
                    </a:cubicBezTo>
                    <a:cubicBezTo>
                      <a:pt x="85" y="98"/>
                      <a:pt x="85" y="101"/>
                      <a:pt x="83" y="102"/>
                    </a:cubicBezTo>
                    <a:close/>
                    <a:moveTo>
                      <a:pt x="63" y="115"/>
                    </a:moveTo>
                    <a:cubicBezTo>
                      <a:pt x="61" y="116"/>
                      <a:pt x="59" y="116"/>
                      <a:pt x="58" y="114"/>
                    </a:cubicBezTo>
                    <a:cubicBezTo>
                      <a:pt x="56" y="112"/>
                      <a:pt x="57" y="110"/>
                      <a:pt x="58" y="109"/>
                    </a:cubicBezTo>
                    <a:cubicBezTo>
                      <a:pt x="60" y="107"/>
                      <a:pt x="63" y="108"/>
                      <a:pt x="64" y="110"/>
                    </a:cubicBezTo>
                    <a:cubicBezTo>
                      <a:pt x="64" y="110"/>
                      <a:pt x="64" y="110"/>
                      <a:pt x="64" y="110"/>
                    </a:cubicBezTo>
                    <a:cubicBezTo>
                      <a:pt x="65" y="112"/>
                      <a:pt x="65" y="114"/>
                      <a:pt x="63" y="115"/>
                    </a:cubicBezTo>
                    <a:close/>
                    <a:moveTo>
                      <a:pt x="44" y="129"/>
                    </a:moveTo>
                    <a:cubicBezTo>
                      <a:pt x="44" y="129"/>
                      <a:pt x="44" y="129"/>
                      <a:pt x="44" y="129"/>
                    </a:cubicBezTo>
                    <a:cubicBezTo>
                      <a:pt x="42" y="131"/>
                      <a:pt x="40" y="130"/>
                      <a:pt x="38" y="128"/>
                    </a:cubicBezTo>
                    <a:cubicBezTo>
                      <a:pt x="37" y="127"/>
                      <a:pt x="37" y="124"/>
                      <a:pt x="39" y="123"/>
                    </a:cubicBezTo>
                    <a:cubicBezTo>
                      <a:pt x="41" y="122"/>
                      <a:pt x="43" y="122"/>
                      <a:pt x="45" y="124"/>
                    </a:cubicBezTo>
                    <a:cubicBezTo>
                      <a:pt x="45" y="124"/>
                      <a:pt x="45" y="124"/>
                      <a:pt x="45" y="124"/>
                    </a:cubicBezTo>
                    <a:cubicBezTo>
                      <a:pt x="46" y="126"/>
                      <a:pt x="45" y="128"/>
                      <a:pt x="44" y="129"/>
                    </a:cubicBezTo>
                    <a:close/>
                    <a:moveTo>
                      <a:pt x="25" y="144"/>
                    </a:moveTo>
                    <a:cubicBezTo>
                      <a:pt x="23" y="145"/>
                      <a:pt x="21" y="145"/>
                      <a:pt x="19" y="143"/>
                    </a:cubicBezTo>
                    <a:cubicBezTo>
                      <a:pt x="18" y="142"/>
                      <a:pt x="18" y="139"/>
                      <a:pt x="20" y="138"/>
                    </a:cubicBezTo>
                    <a:cubicBezTo>
                      <a:pt x="22" y="136"/>
                      <a:pt x="24" y="137"/>
                      <a:pt x="26" y="138"/>
                    </a:cubicBezTo>
                    <a:cubicBezTo>
                      <a:pt x="26" y="139"/>
                      <a:pt x="26" y="139"/>
                      <a:pt x="26" y="139"/>
                    </a:cubicBezTo>
                    <a:cubicBezTo>
                      <a:pt x="27" y="140"/>
                      <a:pt x="27" y="143"/>
                      <a:pt x="25" y="144"/>
                    </a:cubicBezTo>
                    <a:close/>
                    <a:moveTo>
                      <a:pt x="7" y="159"/>
                    </a:moveTo>
                    <a:cubicBezTo>
                      <a:pt x="5" y="161"/>
                      <a:pt x="2" y="160"/>
                      <a:pt x="1" y="159"/>
                    </a:cubicBezTo>
                    <a:cubicBezTo>
                      <a:pt x="0" y="157"/>
                      <a:pt x="0" y="154"/>
                      <a:pt x="1" y="153"/>
                    </a:cubicBezTo>
                    <a:cubicBezTo>
                      <a:pt x="3" y="152"/>
                      <a:pt x="6" y="152"/>
                      <a:pt x="7" y="153"/>
                    </a:cubicBezTo>
                    <a:cubicBezTo>
                      <a:pt x="7" y="154"/>
                      <a:pt x="7" y="154"/>
                      <a:pt x="7" y="154"/>
                    </a:cubicBezTo>
                    <a:cubicBezTo>
                      <a:pt x="8" y="156"/>
                      <a:pt x="8" y="158"/>
                      <a:pt x="7"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1" name="Group 20">
              <a:extLst>
                <a:ext uri="{FF2B5EF4-FFF2-40B4-BE49-F238E27FC236}">
                  <a16:creationId xmlns:a16="http://schemas.microsoft.com/office/drawing/2014/main" id="{4E8B142C-E2F7-4B37-8AE3-8DA122FF60E1}"/>
                </a:ext>
                <a:ext uri="{C183D7F6-B498-43B3-948B-1728B52AA6E4}">
                  <adec:decorative xmlns:adec="http://schemas.microsoft.com/office/drawing/2017/decorative" val="1"/>
                </a:ext>
              </a:extLst>
            </p:cNvPr>
            <p:cNvGrpSpPr/>
            <p:nvPr/>
          </p:nvGrpSpPr>
          <p:grpSpPr>
            <a:xfrm>
              <a:off x="7224455" y="1316568"/>
              <a:ext cx="806160" cy="480895"/>
              <a:chOff x="6735763" y="1304925"/>
              <a:chExt cx="822325" cy="490538"/>
            </a:xfrm>
          </p:grpSpPr>
          <p:sp>
            <p:nvSpPr>
              <p:cNvPr id="81" name="Freeform 39">
                <a:extLst>
                  <a:ext uri="{FF2B5EF4-FFF2-40B4-BE49-F238E27FC236}">
                    <a16:creationId xmlns:a16="http://schemas.microsoft.com/office/drawing/2014/main" id="{EDE99271-E6E7-4B63-9997-CB165FEA07F2}"/>
                  </a:ext>
                </a:extLst>
              </p:cNvPr>
              <p:cNvSpPr>
                <a:spLocks noEditPoints="1"/>
              </p:cNvSpPr>
              <p:nvPr/>
            </p:nvSpPr>
            <p:spPr bwMode="auto">
              <a:xfrm>
                <a:off x="6735763" y="1343025"/>
                <a:ext cx="746125" cy="452438"/>
              </a:xfrm>
              <a:custGeom>
                <a:avLst/>
                <a:gdLst>
                  <a:gd name="T0" fmla="*/ 232 w 235"/>
                  <a:gd name="T1" fmla="*/ 8 h 142"/>
                  <a:gd name="T2" fmla="*/ 229 w 235"/>
                  <a:gd name="T3" fmla="*/ 1 h 142"/>
                  <a:gd name="T4" fmla="*/ 235 w 235"/>
                  <a:gd name="T5" fmla="*/ 3 h 142"/>
                  <a:gd name="T6" fmla="*/ 210 w 235"/>
                  <a:gd name="T7" fmla="*/ 17 h 142"/>
                  <a:gd name="T8" fmla="*/ 205 w 235"/>
                  <a:gd name="T9" fmla="*/ 15 h 142"/>
                  <a:gd name="T10" fmla="*/ 212 w 235"/>
                  <a:gd name="T11" fmla="*/ 11 h 142"/>
                  <a:gd name="T12" fmla="*/ 190 w 235"/>
                  <a:gd name="T13" fmla="*/ 21 h 142"/>
                  <a:gd name="T14" fmla="*/ 183 w 235"/>
                  <a:gd name="T15" fmla="*/ 24 h 142"/>
                  <a:gd name="T16" fmla="*/ 190 w 235"/>
                  <a:gd name="T17" fmla="*/ 21 h 142"/>
                  <a:gd name="T18" fmla="*/ 166 w 235"/>
                  <a:gd name="T19" fmla="*/ 36 h 142"/>
                  <a:gd name="T20" fmla="*/ 163 w 235"/>
                  <a:gd name="T21" fmla="*/ 29 h 142"/>
                  <a:gd name="T22" fmla="*/ 147 w 235"/>
                  <a:gd name="T23" fmla="*/ 42 h 142"/>
                  <a:gd name="T24" fmla="*/ 140 w 235"/>
                  <a:gd name="T25" fmla="*/ 45 h 142"/>
                  <a:gd name="T26" fmla="*/ 147 w 235"/>
                  <a:gd name="T27" fmla="*/ 42 h 142"/>
                  <a:gd name="T28" fmla="*/ 124 w 235"/>
                  <a:gd name="T29" fmla="*/ 59 h 142"/>
                  <a:gd name="T30" fmla="*/ 120 w 235"/>
                  <a:gd name="T31" fmla="*/ 52 h 142"/>
                  <a:gd name="T32" fmla="*/ 126 w 235"/>
                  <a:gd name="T33" fmla="*/ 53 h 142"/>
                  <a:gd name="T34" fmla="*/ 98 w 235"/>
                  <a:gd name="T35" fmla="*/ 69 h 142"/>
                  <a:gd name="T36" fmla="*/ 105 w 235"/>
                  <a:gd name="T37" fmla="*/ 65 h 142"/>
                  <a:gd name="T38" fmla="*/ 104 w 235"/>
                  <a:gd name="T39" fmla="*/ 71 h 142"/>
                  <a:gd name="T40" fmla="*/ 78 w 235"/>
                  <a:gd name="T41" fmla="*/ 82 h 142"/>
                  <a:gd name="T42" fmla="*/ 85 w 235"/>
                  <a:gd name="T43" fmla="*/ 78 h 142"/>
                  <a:gd name="T44" fmla="*/ 83 w 235"/>
                  <a:gd name="T45" fmla="*/ 83 h 142"/>
                  <a:gd name="T46" fmla="*/ 58 w 235"/>
                  <a:gd name="T47" fmla="*/ 96 h 142"/>
                  <a:gd name="T48" fmla="*/ 65 w 235"/>
                  <a:gd name="T49" fmla="*/ 91 h 142"/>
                  <a:gd name="T50" fmla="*/ 64 w 235"/>
                  <a:gd name="T51" fmla="*/ 97 h 142"/>
                  <a:gd name="T52" fmla="*/ 39 w 235"/>
                  <a:gd name="T53" fmla="*/ 110 h 142"/>
                  <a:gd name="T54" fmla="*/ 45 w 235"/>
                  <a:gd name="T55" fmla="*/ 105 h 142"/>
                  <a:gd name="T56" fmla="*/ 44 w 235"/>
                  <a:gd name="T57" fmla="*/ 111 h 142"/>
                  <a:gd name="T58" fmla="*/ 25 w 235"/>
                  <a:gd name="T59" fmla="*/ 125 h 142"/>
                  <a:gd name="T60" fmla="*/ 20 w 235"/>
                  <a:gd name="T61" fmla="*/ 119 h 142"/>
                  <a:gd name="T62" fmla="*/ 26 w 235"/>
                  <a:gd name="T63" fmla="*/ 120 h 142"/>
                  <a:gd name="T64" fmla="*/ 7 w 235"/>
                  <a:gd name="T65" fmla="*/ 140 h 142"/>
                  <a:gd name="T66" fmla="*/ 2 w 235"/>
                  <a:gd name="T67" fmla="*/ 134 h 142"/>
                  <a:gd name="T68" fmla="*/ 8 w 235"/>
                  <a:gd name="T69"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5" h="142">
                    <a:moveTo>
                      <a:pt x="235" y="3"/>
                    </a:moveTo>
                    <a:cubicBezTo>
                      <a:pt x="235" y="5"/>
                      <a:pt x="234" y="7"/>
                      <a:pt x="232" y="8"/>
                    </a:cubicBezTo>
                    <a:cubicBezTo>
                      <a:pt x="230" y="9"/>
                      <a:pt x="228" y="8"/>
                      <a:pt x="227" y="6"/>
                    </a:cubicBezTo>
                    <a:cubicBezTo>
                      <a:pt x="226" y="4"/>
                      <a:pt x="227" y="1"/>
                      <a:pt x="229" y="1"/>
                    </a:cubicBezTo>
                    <a:cubicBezTo>
                      <a:pt x="231" y="0"/>
                      <a:pt x="233" y="1"/>
                      <a:pt x="234" y="2"/>
                    </a:cubicBezTo>
                    <a:lnTo>
                      <a:pt x="235" y="3"/>
                    </a:lnTo>
                    <a:close/>
                    <a:moveTo>
                      <a:pt x="212" y="12"/>
                    </a:moveTo>
                    <a:cubicBezTo>
                      <a:pt x="213" y="14"/>
                      <a:pt x="212" y="16"/>
                      <a:pt x="210" y="17"/>
                    </a:cubicBezTo>
                    <a:cubicBezTo>
                      <a:pt x="210" y="17"/>
                      <a:pt x="210" y="17"/>
                      <a:pt x="210" y="17"/>
                    </a:cubicBezTo>
                    <a:cubicBezTo>
                      <a:pt x="208" y="18"/>
                      <a:pt x="206" y="17"/>
                      <a:pt x="205" y="15"/>
                    </a:cubicBezTo>
                    <a:cubicBezTo>
                      <a:pt x="204" y="13"/>
                      <a:pt x="205" y="10"/>
                      <a:pt x="207" y="9"/>
                    </a:cubicBezTo>
                    <a:cubicBezTo>
                      <a:pt x="209" y="9"/>
                      <a:pt x="211" y="9"/>
                      <a:pt x="212" y="11"/>
                    </a:cubicBezTo>
                    <a:lnTo>
                      <a:pt x="212" y="12"/>
                    </a:lnTo>
                    <a:close/>
                    <a:moveTo>
                      <a:pt x="190" y="21"/>
                    </a:moveTo>
                    <a:cubicBezTo>
                      <a:pt x="191" y="23"/>
                      <a:pt x="190" y="25"/>
                      <a:pt x="188" y="26"/>
                    </a:cubicBezTo>
                    <a:cubicBezTo>
                      <a:pt x="186" y="27"/>
                      <a:pt x="184" y="26"/>
                      <a:pt x="183" y="24"/>
                    </a:cubicBezTo>
                    <a:cubicBezTo>
                      <a:pt x="182" y="22"/>
                      <a:pt x="183" y="20"/>
                      <a:pt x="185" y="19"/>
                    </a:cubicBezTo>
                    <a:cubicBezTo>
                      <a:pt x="187" y="18"/>
                      <a:pt x="189" y="19"/>
                      <a:pt x="190" y="21"/>
                    </a:cubicBezTo>
                    <a:close/>
                    <a:moveTo>
                      <a:pt x="168" y="31"/>
                    </a:moveTo>
                    <a:cubicBezTo>
                      <a:pt x="169" y="33"/>
                      <a:pt x="168" y="35"/>
                      <a:pt x="166" y="36"/>
                    </a:cubicBezTo>
                    <a:cubicBezTo>
                      <a:pt x="164" y="37"/>
                      <a:pt x="162" y="37"/>
                      <a:pt x="161" y="35"/>
                    </a:cubicBezTo>
                    <a:cubicBezTo>
                      <a:pt x="160" y="33"/>
                      <a:pt x="161" y="30"/>
                      <a:pt x="163" y="29"/>
                    </a:cubicBezTo>
                    <a:cubicBezTo>
                      <a:pt x="165" y="28"/>
                      <a:pt x="167" y="29"/>
                      <a:pt x="168" y="31"/>
                    </a:cubicBezTo>
                    <a:close/>
                    <a:moveTo>
                      <a:pt x="147" y="42"/>
                    </a:moveTo>
                    <a:cubicBezTo>
                      <a:pt x="148" y="44"/>
                      <a:pt x="147" y="46"/>
                      <a:pt x="145" y="47"/>
                    </a:cubicBezTo>
                    <a:cubicBezTo>
                      <a:pt x="143" y="48"/>
                      <a:pt x="141" y="47"/>
                      <a:pt x="140" y="45"/>
                    </a:cubicBezTo>
                    <a:cubicBezTo>
                      <a:pt x="139" y="44"/>
                      <a:pt x="139" y="41"/>
                      <a:pt x="141" y="40"/>
                    </a:cubicBezTo>
                    <a:cubicBezTo>
                      <a:pt x="143" y="39"/>
                      <a:pt x="146" y="40"/>
                      <a:pt x="147" y="42"/>
                    </a:cubicBezTo>
                    <a:close/>
                    <a:moveTo>
                      <a:pt x="126" y="53"/>
                    </a:moveTo>
                    <a:cubicBezTo>
                      <a:pt x="127" y="55"/>
                      <a:pt x="126" y="58"/>
                      <a:pt x="124" y="59"/>
                    </a:cubicBezTo>
                    <a:cubicBezTo>
                      <a:pt x="122" y="60"/>
                      <a:pt x="120" y="59"/>
                      <a:pt x="119" y="57"/>
                    </a:cubicBezTo>
                    <a:cubicBezTo>
                      <a:pt x="118" y="55"/>
                      <a:pt x="118" y="53"/>
                      <a:pt x="120" y="52"/>
                    </a:cubicBezTo>
                    <a:cubicBezTo>
                      <a:pt x="120" y="52"/>
                      <a:pt x="120" y="52"/>
                      <a:pt x="120" y="52"/>
                    </a:cubicBezTo>
                    <a:cubicBezTo>
                      <a:pt x="122" y="51"/>
                      <a:pt x="125" y="51"/>
                      <a:pt x="126" y="53"/>
                    </a:cubicBezTo>
                    <a:close/>
                    <a:moveTo>
                      <a:pt x="104" y="71"/>
                    </a:moveTo>
                    <a:cubicBezTo>
                      <a:pt x="102" y="72"/>
                      <a:pt x="99" y="71"/>
                      <a:pt x="98" y="69"/>
                    </a:cubicBezTo>
                    <a:cubicBezTo>
                      <a:pt x="97" y="67"/>
                      <a:pt x="98" y="65"/>
                      <a:pt x="99" y="64"/>
                    </a:cubicBezTo>
                    <a:cubicBezTo>
                      <a:pt x="101" y="63"/>
                      <a:pt x="104" y="63"/>
                      <a:pt x="105" y="65"/>
                    </a:cubicBezTo>
                    <a:cubicBezTo>
                      <a:pt x="105" y="65"/>
                      <a:pt x="105" y="65"/>
                      <a:pt x="105" y="65"/>
                    </a:cubicBezTo>
                    <a:cubicBezTo>
                      <a:pt x="106" y="67"/>
                      <a:pt x="105" y="70"/>
                      <a:pt x="104" y="71"/>
                    </a:cubicBezTo>
                    <a:close/>
                    <a:moveTo>
                      <a:pt x="83" y="83"/>
                    </a:moveTo>
                    <a:cubicBezTo>
                      <a:pt x="81" y="85"/>
                      <a:pt x="79" y="84"/>
                      <a:pt x="78" y="82"/>
                    </a:cubicBezTo>
                    <a:cubicBezTo>
                      <a:pt x="77" y="80"/>
                      <a:pt x="77" y="78"/>
                      <a:pt x="79" y="77"/>
                    </a:cubicBezTo>
                    <a:cubicBezTo>
                      <a:pt x="81" y="75"/>
                      <a:pt x="83" y="76"/>
                      <a:pt x="85" y="78"/>
                    </a:cubicBezTo>
                    <a:cubicBezTo>
                      <a:pt x="85" y="78"/>
                      <a:pt x="85" y="78"/>
                      <a:pt x="85" y="78"/>
                    </a:cubicBezTo>
                    <a:cubicBezTo>
                      <a:pt x="86" y="80"/>
                      <a:pt x="85" y="82"/>
                      <a:pt x="83" y="83"/>
                    </a:cubicBezTo>
                    <a:close/>
                    <a:moveTo>
                      <a:pt x="64" y="97"/>
                    </a:moveTo>
                    <a:cubicBezTo>
                      <a:pt x="62" y="98"/>
                      <a:pt x="59" y="98"/>
                      <a:pt x="58" y="96"/>
                    </a:cubicBezTo>
                    <a:cubicBezTo>
                      <a:pt x="57" y="94"/>
                      <a:pt x="57" y="91"/>
                      <a:pt x="59" y="90"/>
                    </a:cubicBezTo>
                    <a:cubicBezTo>
                      <a:pt x="61" y="89"/>
                      <a:pt x="63" y="89"/>
                      <a:pt x="65" y="91"/>
                    </a:cubicBezTo>
                    <a:cubicBezTo>
                      <a:pt x="65" y="91"/>
                      <a:pt x="65" y="91"/>
                      <a:pt x="65" y="91"/>
                    </a:cubicBezTo>
                    <a:cubicBezTo>
                      <a:pt x="66" y="93"/>
                      <a:pt x="65" y="96"/>
                      <a:pt x="64" y="97"/>
                    </a:cubicBezTo>
                    <a:close/>
                    <a:moveTo>
                      <a:pt x="44" y="111"/>
                    </a:moveTo>
                    <a:cubicBezTo>
                      <a:pt x="42" y="112"/>
                      <a:pt x="40" y="112"/>
                      <a:pt x="39" y="110"/>
                    </a:cubicBezTo>
                    <a:cubicBezTo>
                      <a:pt x="37" y="108"/>
                      <a:pt x="38" y="106"/>
                      <a:pt x="39" y="104"/>
                    </a:cubicBezTo>
                    <a:cubicBezTo>
                      <a:pt x="41" y="103"/>
                      <a:pt x="44" y="103"/>
                      <a:pt x="45" y="105"/>
                    </a:cubicBezTo>
                    <a:cubicBezTo>
                      <a:pt x="45" y="105"/>
                      <a:pt x="45" y="105"/>
                      <a:pt x="45" y="105"/>
                    </a:cubicBezTo>
                    <a:cubicBezTo>
                      <a:pt x="46" y="107"/>
                      <a:pt x="46" y="109"/>
                      <a:pt x="44" y="111"/>
                    </a:cubicBezTo>
                    <a:close/>
                    <a:moveTo>
                      <a:pt x="25" y="125"/>
                    </a:moveTo>
                    <a:cubicBezTo>
                      <a:pt x="25" y="125"/>
                      <a:pt x="25" y="125"/>
                      <a:pt x="25" y="125"/>
                    </a:cubicBezTo>
                    <a:cubicBezTo>
                      <a:pt x="24" y="127"/>
                      <a:pt x="21" y="126"/>
                      <a:pt x="20" y="125"/>
                    </a:cubicBezTo>
                    <a:cubicBezTo>
                      <a:pt x="18" y="123"/>
                      <a:pt x="19" y="120"/>
                      <a:pt x="20" y="119"/>
                    </a:cubicBezTo>
                    <a:cubicBezTo>
                      <a:pt x="22" y="118"/>
                      <a:pt x="25" y="118"/>
                      <a:pt x="26" y="120"/>
                    </a:cubicBezTo>
                    <a:cubicBezTo>
                      <a:pt x="26" y="120"/>
                      <a:pt x="26" y="120"/>
                      <a:pt x="26" y="120"/>
                    </a:cubicBezTo>
                    <a:cubicBezTo>
                      <a:pt x="27" y="122"/>
                      <a:pt x="27" y="124"/>
                      <a:pt x="25" y="125"/>
                    </a:cubicBezTo>
                    <a:close/>
                    <a:moveTo>
                      <a:pt x="7" y="140"/>
                    </a:moveTo>
                    <a:cubicBezTo>
                      <a:pt x="5" y="142"/>
                      <a:pt x="3" y="142"/>
                      <a:pt x="1" y="140"/>
                    </a:cubicBezTo>
                    <a:cubicBezTo>
                      <a:pt x="0" y="138"/>
                      <a:pt x="0" y="136"/>
                      <a:pt x="2" y="134"/>
                    </a:cubicBezTo>
                    <a:cubicBezTo>
                      <a:pt x="3" y="133"/>
                      <a:pt x="6" y="133"/>
                      <a:pt x="7" y="135"/>
                    </a:cubicBezTo>
                    <a:cubicBezTo>
                      <a:pt x="8" y="135"/>
                      <a:pt x="8" y="135"/>
                      <a:pt x="8" y="135"/>
                    </a:cubicBezTo>
                    <a:cubicBezTo>
                      <a:pt x="9" y="137"/>
                      <a:pt x="8" y="139"/>
                      <a:pt x="7" y="14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2" name="Freeform 41">
                <a:extLst>
                  <a:ext uri="{FF2B5EF4-FFF2-40B4-BE49-F238E27FC236}">
                    <a16:creationId xmlns:a16="http://schemas.microsoft.com/office/drawing/2014/main" id="{A25BE31E-9124-409B-B3DF-27B8DBBA7AA4}"/>
                  </a:ext>
                </a:extLst>
              </p:cNvPr>
              <p:cNvSpPr>
                <a:spLocks/>
              </p:cNvSpPr>
              <p:nvPr/>
            </p:nvSpPr>
            <p:spPr bwMode="auto">
              <a:xfrm>
                <a:off x="7500938" y="1304925"/>
                <a:ext cx="57150" cy="66675"/>
              </a:xfrm>
              <a:custGeom>
                <a:avLst/>
                <a:gdLst>
                  <a:gd name="T0" fmla="*/ 18 w 18"/>
                  <a:gd name="T1" fmla="*/ 7 h 21"/>
                  <a:gd name="T2" fmla="*/ 11 w 18"/>
                  <a:gd name="T3" fmla="*/ 19 h 21"/>
                  <a:gd name="T4" fmla="*/ 7 w 18"/>
                  <a:gd name="T5" fmla="*/ 21 h 21"/>
                  <a:gd name="T6" fmla="*/ 6 w 18"/>
                  <a:gd name="T7" fmla="*/ 17 h 21"/>
                  <a:gd name="T8" fmla="*/ 10 w 18"/>
                  <a:gd name="T9" fmla="*/ 9 h 21"/>
                  <a:gd name="T10" fmla="*/ 2 w 18"/>
                  <a:gd name="T11" fmla="*/ 6 h 21"/>
                  <a:gd name="T12" fmla="*/ 1 w 18"/>
                  <a:gd name="T13" fmla="*/ 2 h 21"/>
                  <a:gd name="T14" fmla="*/ 5 w 18"/>
                  <a:gd name="T15" fmla="*/ 0 h 21"/>
                  <a:gd name="T16" fmla="*/ 18 w 18"/>
                  <a:gd name="T1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1">
                    <a:moveTo>
                      <a:pt x="18" y="7"/>
                    </a:moveTo>
                    <a:cubicBezTo>
                      <a:pt x="11" y="19"/>
                      <a:pt x="11" y="19"/>
                      <a:pt x="11" y="19"/>
                    </a:cubicBezTo>
                    <a:cubicBezTo>
                      <a:pt x="11" y="21"/>
                      <a:pt x="9" y="21"/>
                      <a:pt x="7" y="21"/>
                    </a:cubicBezTo>
                    <a:cubicBezTo>
                      <a:pt x="6" y="20"/>
                      <a:pt x="5" y="18"/>
                      <a:pt x="6" y="17"/>
                    </a:cubicBezTo>
                    <a:cubicBezTo>
                      <a:pt x="10" y="9"/>
                      <a:pt x="10" y="9"/>
                      <a:pt x="10" y="9"/>
                    </a:cubicBezTo>
                    <a:cubicBezTo>
                      <a:pt x="2" y="6"/>
                      <a:pt x="2" y="6"/>
                      <a:pt x="2" y="6"/>
                    </a:cubicBezTo>
                    <a:cubicBezTo>
                      <a:pt x="1" y="5"/>
                      <a:pt x="0" y="3"/>
                      <a:pt x="1" y="2"/>
                    </a:cubicBezTo>
                    <a:cubicBezTo>
                      <a:pt x="2" y="0"/>
                      <a:pt x="3" y="0"/>
                      <a:pt x="5" y="0"/>
                    </a:cubicBezTo>
                    <a:lnTo>
                      <a:pt x="18" y="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2" name="Group 21">
              <a:extLst>
                <a:ext uri="{FF2B5EF4-FFF2-40B4-BE49-F238E27FC236}">
                  <a16:creationId xmlns:a16="http://schemas.microsoft.com/office/drawing/2014/main" id="{10B6FEE1-FF07-4412-AAD8-46C4F53D1939}"/>
                </a:ext>
                <a:ext uri="{C183D7F6-B498-43B3-948B-1728B52AA6E4}">
                  <adec:decorative xmlns:adec="http://schemas.microsoft.com/office/drawing/2017/decorative" val="1"/>
                </a:ext>
              </a:extLst>
            </p:cNvPr>
            <p:cNvGrpSpPr/>
            <p:nvPr/>
          </p:nvGrpSpPr>
          <p:grpSpPr>
            <a:xfrm>
              <a:off x="6293792" y="3026935"/>
              <a:ext cx="96490" cy="1064504"/>
              <a:chOff x="5786438" y="3049588"/>
              <a:chExt cx="98425" cy="1085850"/>
            </a:xfrm>
          </p:grpSpPr>
          <p:sp>
            <p:nvSpPr>
              <p:cNvPr id="79" name="Freeform 42">
                <a:extLst>
                  <a:ext uri="{FF2B5EF4-FFF2-40B4-BE49-F238E27FC236}">
                    <a16:creationId xmlns:a16="http://schemas.microsoft.com/office/drawing/2014/main" id="{89EEF59D-37FD-4399-9F71-3624AA1BAC04}"/>
                  </a:ext>
                </a:extLst>
              </p:cNvPr>
              <p:cNvSpPr>
                <a:spLocks/>
              </p:cNvSpPr>
              <p:nvPr/>
            </p:nvSpPr>
            <p:spPr bwMode="auto">
              <a:xfrm>
                <a:off x="5815013" y="4081463"/>
                <a:ext cx="69850" cy="53975"/>
              </a:xfrm>
              <a:custGeom>
                <a:avLst/>
                <a:gdLst>
                  <a:gd name="T0" fmla="*/ 14 w 22"/>
                  <a:gd name="T1" fmla="*/ 17 h 17"/>
                  <a:gd name="T2" fmla="*/ 2 w 22"/>
                  <a:gd name="T3" fmla="*/ 10 h 17"/>
                  <a:gd name="T4" fmla="*/ 1 w 22"/>
                  <a:gd name="T5" fmla="*/ 5 h 17"/>
                  <a:gd name="T6" fmla="*/ 5 w 22"/>
                  <a:gd name="T7" fmla="*/ 5 h 17"/>
                  <a:gd name="T8" fmla="*/ 12 w 22"/>
                  <a:gd name="T9" fmla="*/ 9 h 17"/>
                  <a:gd name="T10" fmla="*/ 16 w 22"/>
                  <a:gd name="T11" fmla="*/ 2 h 17"/>
                  <a:gd name="T12" fmla="*/ 20 w 22"/>
                  <a:gd name="T13" fmla="*/ 1 h 17"/>
                  <a:gd name="T14" fmla="*/ 21 w 22"/>
                  <a:gd name="T15" fmla="*/ 6 h 17"/>
                  <a:gd name="T16" fmla="*/ 14 w 22"/>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14" y="17"/>
                    </a:moveTo>
                    <a:cubicBezTo>
                      <a:pt x="2" y="10"/>
                      <a:pt x="2" y="10"/>
                      <a:pt x="2" y="10"/>
                    </a:cubicBezTo>
                    <a:cubicBezTo>
                      <a:pt x="0" y="9"/>
                      <a:pt x="0" y="7"/>
                      <a:pt x="1" y="5"/>
                    </a:cubicBezTo>
                    <a:cubicBezTo>
                      <a:pt x="2" y="4"/>
                      <a:pt x="4" y="4"/>
                      <a:pt x="5" y="5"/>
                    </a:cubicBezTo>
                    <a:cubicBezTo>
                      <a:pt x="12" y="9"/>
                      <a:pt x="12" y="9"/>
                      <a:pt x="12" y="9"/>
                    </a:cubicBezTo>
                    <a:cubicBezTo>
                      <a:pt x="16" y="2"/>
                      <a:pt x="16" y="2"/>
                      <a:pt x="16" y="2"/>
                    </a:cubicBezTo>
                    <a:cubicBezTo>
                      <a:pt x="17" y="1"/>
                      <a:pt x="19" y="0"/>
                      <a:pt x="20" y="1"/>
                    </a:cubicBezTo>
                    <a:cubicBezTo>
                      <a:pt x="22" y="2"/>
                      <a:pt x="22" y="4"/>
                      <a:pt x="21" y="6"/>
                    </a:cubicBezTo>
                    <a:lnTo>
                      <a:pt x="14" y="17"/>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44">
                <a:extLst>
                  <a:ext uri="{FF2B5EF4-FFF2-40B4-BE49-F238E27FC236}">
                    <a16:creationId xmlns:a16="http://schemas.microsoft.com/office/drawing/2014/main" id="{B705BBA1-F22C-4E46-AB75-BFA0E88F2F4F}"/>
                  </a:ext>
                </a:extLst>
              </p:cNvPr>
              <p:cNvSpPr>
                <a:spLocks noEditPoints="1"/>
              </p:cNvSpPr>
              <p:nvPr/>
            </p:nvSpPr>
            <p:spPr bwMode="auto">
              <a:xfrm>
                <a:off x="5786438" y="3049588"/>
                <a:ext cx="79375" cy="1009650"/>
              </a:xfrm>
              <a:custGeom>
                <a:avLst/>
                <a:gdLst>
                  <a:gd name="T0" fmla="*/ 25 w 25"/>
                  <a:gd name="T1" fmla="*/ 5 h 318"/>
                  <a:gd name="T2" fmla="*/ 17 w 25"/>
                  <a:gd name="T3" fmla="*/ 3 h 318"/>
                  <a:gd name="T4" fmla="*/ 22 w 25"/>
                  <a:gd name="T5" fmla="*/ 0 h 318"/>
                  <a:gd name="T6" fmla="*/ 20 w 25"/>
                  <a:gd name="T7" fmla="*/ 28 h 318"/>
                  <a:gd name="T8" fmla="*/ 12 w 25"/>
                  <a:gd name="T9" fmla="*/ 27 h 318"/>
                  <a:gd name="T10" fmla="*/ 16 w 25"/>
                  <a:gd name="T11" fmla="*/ 23 h 318"/>
                  <a:gd name="T12" fmla="*/ 13 w 25"/>
                  <a:gd name="T13" fmla="*/ 47 h 318"/>
                  <a:gd name="T14" fmla="*/ 12 w 25"/>
                  <a:gd name="T15" fmla="*/ 55 h 318"/>
                  <a:gd name="T16" fmla="*/ 12 w 25"/>
                  <a:gd name="T17" fmla="*/ 47 h 318"/>
                  <a:gd name="T18" fmla="*/ 10 w 25"/>
                  <a:gd name="T19" fmla="*/ 71 h 318"/>
                  <a:gd name="T20" fmla="*/ 9 w 25"/>
                  <a:gd name="T21" fmla="*/ 79 h 318"/>
                  <a:gd name="T22" fmla="*/ 9 w 25"/>
                  <a:gd name="T23" fmla="*/ 71 h 318"/>
                  <a:gd name="T24" fmla="*/ 7 w 25"/>
                  <a:gd name="T25" fmla="*/ 95 h 318"/>
                  <a:gd name="T26" fmla="*/ 6 w 25"/>
                  <a:gd name="T27" fmla="*/ 103 h 318"/>
                  <a:gd name="T28" fmla="*/ 7 w 25"/>
                  <a:gd name="T29" fmla="*/ 95 h 318"/>
                  <a:gd name="T30" fmla="*/ 9 w 25"/>
                  <a:gd name="T31" fmla="*/ 123 h 318"/>
                  <a:gd name="T32" fmla="*/ 1 w 25"/>
                  <a:gd name="T33" fmla="*/ 122 h 318"/>
                  <a:gd name="T34" fmla="*/ 4 w 25"/>
                  <a:gd name="T35" fmla="*/ 143 h 318"/>
                  <a:gd name="T36" fmla="*/ 4 w 25"/>
                  <a:gd name="T37" fmla="*/ 151 h 318"/>
                  <a:gd name="T38" fmla="*/ 4 w 25"/>
                  <a:gd name="T39" fmla="*/ 143 h 318"/>
                  <a:gd name="T40" fmla="*/ 4 w 25"/>
                  <a:gd name="T41" fmla="*/ 175 h 318"/>
                  <a:gd name="T42" fmla="*/ 4 w 25"/>
                  <a:gd name="T43" fmla="*/ 167 h 318"/>
                  <a:gd name="T44" fmla="*/ 8 w 25"/>
                  <a:gd name="T45" fmla="*/ 194 h 318"/>
                  <a:gd name="T46" fmla="*/ 0 w 25"/>
                  <a:gd name="T47" fmla="*/ 195 h 318"/>
                  <a:gd name="T48" fmla="*/ 4 w 25"/>
                  <a:gd name="T49" fmla="*/ 191 h 318"/>
                  <a:gd name="T50" fmla="*/ 9 w 25"/>
                  <a:gd name="T51" fmla="*/ 218 h 318"/>
                  <a:gd name="T52" fmla="*/ 1 w 25"/>
                  <a:gd name="T53" fmla="*/ 219 h 318"/>
                  <a:gd name="T54" fmla="*/ 5 w 25"/>
                  <a:gd name="T55" fmla="*/ 215 h 318"/>
                  <a:gd name="T56" fmla="*/ 11 w 25"/>
                  <a:gd name="T57" fmla="*/ 242 h 318"/>
                  <a:gd name="T58" fmla="*/ 3 w 25"/>
                  <a:gd name="T59" fmla="*/ 243 h 318"/>
                  <a:gd name="T60" fmla="*/ 7 w 25"/>
                  <a:gd name="T61" fmla="*/ 239 h 318"/>
                  <a:gd name="T62" fmla="*/ 13 w 25"/>
                  <a:gd name="T63" fmla="*/ 266 h 318"/>
                  <a:gd name="T64" fmla="*/ 10 w 25"/>
                  <a:gd name="T65" fmla="*/ 270 h 318"/>
                  <a:gd name="T66" fmla="*/ 9 w 25"/>
                  <a:gd name="T67" fmla="*/ 262 h 318"/>
                  <a:gd name="T68" fmla="*/ 13 w 25"/>
                  <a:gd name="T69" fmla="*/ 266 h 318"/>
                  <a:gd name="T70" fmla="*/ 13 w 25"/>
                  <a:gd name="T71" fmla="*/ 294 h 318"/>
                  <a:gd name="T72" fmla="*/ 12 w 25"/>
                  <a:gd name="T73" fmla="*/ 286 h 318"/>
                  <a:gd name="T74" fmla="*/ 17 w 25"/>
                  <a:gd name="T75" fmla="*/ 290 h 318"/>
                  <a:gd name="T76" fmla="*/ 17 w 25"/>
                  <a:gd name="T77" fmla="*/ 318 h 318"/>
                  <a:gd name="T78" fmla="*/ 16 w 25"/>
                  <a:gd name="T79" fmla="*/ 310 h 318"/>
                  <a:gd name="T80" fmla="*/ 21 w 25"/>
                  <a:gd name="T81" fmla="*/ 313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 h="318">
                    <a:moveTo>
                      <a:pt x="22" y="0"/>
                    </a:moveTo>
                    <a:cubicBezTo>
                      <a:pt x="24" y="0"/>
                      <a:pt x="25" y="3"/>
                      <a:pt x="25" y="5"/>
                    </a:cubicBezTo>
                    <a:cubicBezTo>
                      <a:pt x="24" y="7"/>
                      <a:pt x="22" y="8"/>
                      <a:pt x="20" y="8"/>
                    </a:cubicBezTo>
                    <a:cubicBezTo>
                      <a:pt x="18" y="7"/>
                      <a:pt x="17" y="5"/>
                      <a:pt x="17" y="3"/>
                    </a:cubicBezTo>
                    <a:cubicBezTo>
                      <a:pt x="17" y="1"/>
                      <a:pt x="19" y="0"/>
                      <a:pt x="21" y="0"/>
                    </a:cubicBezTo>
                    <a:lnTo>
                      <a:pt x="22" y="0"/>
                    </a:lnTo>
                    <a:close/>
                    <a:moveTo>
                      <a:pt x="17" y="23"/>
                    </a:moveTo>
                    <a:cubicBezTo>
                      <a:pt x="19" y="24"/>
                      <a:pt x="21" y="26"/>
                      <a:pt x="20" y="28"/>
                    </a:cubicBezTo>
                    <a:cubicBezTo>
                      <a:pt x="20" y="30"/>
                      <a:pt x="18" y="32"/>
                      <a:pt x="15" y="31"/>
                    </a:cubicBezTo>
                    <a:cubicBezTo>
                      <a:pt x="13" y="31"/>
                      <a:pt x="12" y="29"/>
                      <a:pt x="12" y="27"/>
                    </a:cubicBezTo>
                    <a:cubicBezTo>
                      <a:pt x="12" y="27"/>
                      <a:pt x="12" y="27"/>
                      <a:pt x="12" y="27"/>
                    </a:cubicBezTo>
                    <a:cubicBezTo>
                      <a:pt x="13" y="25"/>
                      <a:pt x="14" y="23"/>
                      <a:pt x="16" y="23"/>
                    </a:cubicBezTo>
                    <a:lnTo>
                      <a:pt x="17" y="23"/>
                    </a:lnTo>
                    <a:close/>
                    <a:moveTo>
                      <a:pt x="13" y="47"/>
                    </a:moveTo>
                    <a:cubicBezTo>
                      <a:pt x="15" y="47"/>
                      <a:pt x="17" y="49"/>
                      <a:pt x="16" y="52"/>
                    </a:cubicBezTo>
                    <a:cubicBezTo>
                      <a:pt x="16" y="54"/>
                      <a:pt x="14" y="55"/>
                      <a:pt x="12" y="55"/>
                    </a:cubicBezTo>
                    <a:cubicBezTo>
                      <a:pt x="9" y="55"/>
                      <a:pt x="8" y="53"/>
                      <a:pt x="8" y="50"/>
                    </a:cubicBezTo>
                    <a:cubicBezTo>
                      <a:pt x="9" y="48"/>
                      <a:pt x="10" y="47"/>
                      <a:pt x="12" y="47"/>
                    </a:cubicBezTo>
                    <a:lnTo>
                      <a:pt x="13" y="47"/>
                    </a:lnTo>
                    <a:close/>
                    <a:moveTo>
                      <a:pt x="10" y="71"/>
                    </a:moveTo>
                    <a:cubicBezTo>
                      <a:pt x="12" y="71"/>
                      <a:pt x="13" y="73"/>
                      <a:pt x="13" y="75"/>
                    </a:cubicBezTo>
                    <a:cubicBezTo>
                      <a:pt x="13" y="77"/>
                      <a:pt x="11" y="79"/>
                      <a:pt x="9" y="79"/>
                    </a:cubicBezTo>
                    <a:cubicBezTo>
                      <a:pt x="6" y="79"/>
                      <a:pt x="5" y="77"/>
                      <a:pt x="5" y="74"/>
                    </a:cubicBezTo>
                    <a:cubicBezTo>
                      <a:pt x="5" y="72"/>
                      <a:pt x="7" y="71"/>
                      <a:pt x="9" y="71"/>
                    </a:cubicBezTo>
                    <a:lnTo>
                      <a:pt x="10" y="71"/>
                    </a:lnTo>
                    <a:close/>
                    <a:moveTo>
                      <a:pt x="7" y="95"/>
                    </a:moveTo>
                    <a:cubicBezTo>
                      <a:pt x="9" y="95"/>
                      <a:pt x="11" y="97"/>
                      <a:pt x="11" y="99"/>
                    </a:cubicBezTo>
                    <a:cubicBezTo>
                      <a:pt x="10" y="101"/>
                      <a:pt x="8" y="103"/>
                      <a:pt x="6" y="103"/>
                    </a:cubicBezTo>
                    <a:cubicBezTo>
                      <a:pt x="4" y="102"/>
                      <a:pt x="2" y="101"/>
                      <a:pt x="3" y="98"/>
                    </a:cubicBezTo>
                    <a:cubicBezTo>
                      <a:pt x="3" y="96"/>
                      <a:pt x="5" y="95"/>
                      <a:pt x="7" y="95"/>
                    </a:cubicBezTo>
                    <a:close/>
                    <a:moveTo>
                      <a:pt x="5" y="119"/>
                    </a:moveTo>
                    <a:cubicBezTo>
                      <a:pt x="7" y="119"/>
                      <a:pt x="9" y="121"/>
                      <a:pt x="9" y="123"/>
                    </a:cubicBezTo>
                    <a:cubicBezTo>
                      <a:pt x="9" y="125"/>
                      <a:pt x="7" y="127"/>
                      <a:pt x="5" y="127"/>
                    </a:cubicBezTo>
                    <a:cubicBezTo>
                      <a:pt x="2" y="127"/>
                      <a:pt x="1" y="125"/>
                      <a:pt x="1" y="122"/>
                    </a:cubicBezTo>
                    <a:cubicBezTo>
                      <a:pt x="1" y="120"/>
                      <a:pt x="3" y="119"/>
                      <a:pt x="5" y="119"/>
                    </a:cubicBezTo>
                    <a:close/>
                    <a:moveTo>
                      <a:pt x="4" y="143"/>
                    </a:moveTo>
                    <a:cubicBezTo>
                      <a:pt x="6" y="143"/>
                      <a:pt x="8" y="145"/>
                      <a:pt x="8" y="147"/>
                    </a:cubicBezTo>
                    <a:cubicBezTo>
                      <a:pt x="8" y="149"/>
                      <a:pt x="6" y="151"/>
                      <a:pt x="4" y="151"/>
                    </a:cubicBezTo>
                    <a:cubicBezTo>
                      <a:pt x="2" y="151"/>
                      <a:pt x="0" y="149"/>
                      <a:pt x="0" y="147"/>
                    </a:cubicBezTo>
                    <a:cubicBezTo>
                      <a:pt x="0" y="144"/>
                      <a:pt x="2" y="143"/>
                      <a:pt x="4" y="143"/>
                    </a:cubicBezTo>
                    <a:close/>
                    <a:moveTo>
                      <a:pt x="8" y="171"/>
                    </a:moveTo>
                    <a:cubicBezTo>
                      <a:pt x="8" y="173"/>
                      <a:pt x="6" y="175"/>
                      <a:pt x="4" y="175"/>
                    </a:cubicBezTo>
                    <a:cubicBezTo>
                      <a:pt x="1" y="175"/>
                      <a:pt x="0" y="173"/>
                      <a:pt x="0" y="171"/>
                    </a:cubicBezTo>
                    <a:cubicBezTo>
                      <a:pt x="0" y="168"/>
                      <a:pt x="1" y="167"/>
                      <a:pt x="4" y="167"/>
                    </a:cubicBezTo>
                    <a:cubicBezTo>
                      <a:pt x="6" y="167"/>
                      <a:pt x="8" y="168"/>
                      <a:pt x="8" y="171"/>
                    </a:cubicBezTo>
                    <a:close/>
                    <a:moveTo>
                      <a:pt x="8" y="194"/>
                    </a:moveTo>
                    <a:cubicBezTo>
                      <a:pt x="8" y="197"/>
                      <a:pt x="6" y="199"/>
                      <a:pt x="4" y="199"/>
                    </a:cubicBezTo>
                    <a:cubicBezTo>
                      <a:pt x="2" y="199"/>
                      <a:pt x="0" y="197"/>
                      <a:pt x="0" y="195"/>
                    </a:cubicBezTo>
                    <a:cubicBezTo>
                      <a:pt x="0" y="193"/>
                      <a:pt x="2" y="191"/>
                      <a:pt x="4" y="191"/>
                    </a:cubicBezTo>
                    <a:cubicBezTo>
                      <a:pt x="4" y="191"/>
                      <a:pt x="4" y="191"/>
                      <a:pt x="4" y="191"/>
                    </a:cubicBezTo>
                    <a:cubicBezTo>
                      <a:pt x="6" y="191"/>
                      <a:pt x="8" y="192"/>
                      <a:pt x="8" y="194"/>
                    </a:cubicBezTo>
                    <a:close/>
                    <a:moveTo>
                      <a:pt x="9" y="218"/>
                    </a:moveTo>
                    <a:cubicBezTo>
                      <a:pt x="9" y="221"/>
                      <a:pt x="7" y="222"/>
                      <a:pt x="5" y="223"/>
                    </a:cubicBezTo>
                    <a:cubicBezTo>
                      <a:pt x="3" y="223"/>
                      <a:pt x="1" y="221"/>
                      <a:pt x="1" y="219"/>
                    </a:cubicBezTo>
                    <a:cubicBezTo>
                      <a:pt x="1" y="217"/>
                      <a:pt x="3" y="215"/>
                      <a:pt x="5" y="215"/>
                    </a:cubicBezTo>
                    <a:cubicBezTo>
                      <a:pt x="5" y="215"/>
                      <a:pt x="5" y="215"/>
                      <a:pt x="5" y="215"/>
                    </a:cubicBezTo>
                    <a:cubicBezTo>
                      <a:pt x="7" y="215"/>
                      <a:pt x="9" y="216"/>
                      <a:pt x="9" y="218"/>
                    </a:cubicBezTo>
                    <a:close/>
                    <a:moveTo>
                      <a:pt x="11" y="242"/>
                    </a:moveTo>
                    <a:cubicBezTo>
                      <a:pt x="11" y="244"/>
                      <a:pt x="9" y="246"/>
                      <a:pt x="7" y="246"/>
                    </a:cubicBezTo>
                    <a:cubicBezTo>
                      <a:pt x="5" y="247"/>
                      <a:pt x="3" y="245"/>
                      <a:pt x="3" y="243"/>
                    </a:cubicBezTo>
                    <a:cubicBezTo>
                      <a:pt x="3" y="241"/>
                      <a:pt x="4" y="239"/>
                      <a:pt x="6" y="239"/>
                    </a:cubicBezTo>
                    <a:cubicBezTo>
                      <a:pt x="7" y="239"/>
                      <a:pt x="7" y="239"/>
                      <a:pt x="7" y="239"/>
                    </a:cubicBezTo>
                    <a:cubicBezTo>
                      <a:pt x="9" y="239"/>
                      <a:pt x="11" y="240"/>
                      <a:pt x="11" y="242"/>
                    </a:cubicBezTo>
                    <a:close/>
                    <a:moveTo>
                      <a:pt x="13" y="266"/>
                    </a:moveTo>
                    <a:cubicBezTo>
                      <a:pt x="13" y="266"/>
                      <a:pt x="13" y="266"/>
                      <a:pt x="13" y="266"/>
                    </a:cubicBezTo>
                    <a:cubicBezTo>
                      <a:pt x="14" y="268"/>
                      <a:pt x="12" y="270"/>
                      <a:pt x="10" y="270"/>
                    </a:cubicBezTo>
                    <a:cubicBezTo>
                      <a:pt x="8" y="271"/>
                      <a:pt x="6" y="269"/>
                      <a:pt x="5" y="267"/>
                    </a:cubicBezTo>
                    <a:cubicBezTo>
                      <a:pt x="5" y="265"/>
                      <a:pt x="7" y="263"/>
                      <a:pt x="9" y="262"/>
                    </a:cubicBezTo>
                    <a:cubicBezTo>
                      <a:pt x="9" y="262"/>
                      <a:pt x="9" y="262"/>
                      <a:pt x="9" y="262"/>
                    </a:cubicBezTo>
                    <a:cubicBezTo>
                      <a:pt x="11" y="262"/>
                      <a:pt x="13" y="264"/>
                      <a:pt x="13" y="266"/>
                    </a:cubicBezTo>
                    <a:close/>
                    <a:moveTo>
                      <a:pt x="17" y="290"/>
                    </a:moveTo>
                    <a:cubicBezTo>
                      <a:pt x="17" y="292"/>
                      <a:pt x="15" y="294"/>
                      <a:pt x="13" y="294"/>
                    </a:cubicBezTo>
                    <a:cubicBezTo>
                      <a:pt x="11" y="294"/>
                      <a:pt x="9" y="293"/>
                      <a:pt x="9" y="291"/>
                    </a:cubicBezTo>
                    <a:cubicBezTo>
                      <a:pt x="8" y="289"/>
                      <a:pt x="10" y="287"/>
                      <a:pt x="12" y="286"/>
                    </a:cubicBezTo>
                    <a:cubicBezTo>
                      <a:pt x="13" y="286"/>
                      <a:pt x="13" y="286"/>
                      <a:pt x="13" y="286"/>
                    </a:cubicBezTo>
                    <a:cubicBezTo>
                      <a:pt x="15" y="286"/>
                      <a:pt x="16" y="288"/>
                      <a:pt x="17" y="290"/>
                    </a:cubicBezTo>
                    <a:close/>
                    <a:moveTo>
                      <a:pt x="21" y="313"/>
                    </a:moveTo>
                    <a:cubicBezTo>
                      <a:pt x="21" y="315"/>
                      <a:pt x="20" y="317"/>
                      <a:pt x="17" y="318"/>
                    </a:cubicBezTo>
                    <a:cubicBezTo>
                      <a:pt x="15" y="318"/>
                      <a:pt x="13" y="317"/>
                      <a:pt x="13" y="315"/>
                    </a:cubicBezTo>
                    <a:cubicBezTo>
                      <a:pt x="12" y="312"/>
                      <a:pt x="14" y="310"/>
                      <a:pt x="16" y="310"/>
                    </a:cubicBezTo>
                    <a:cubicBezTo>
                      <a:pt x="17" y="310"/>
                      <a:pt x="17" y="310"/>
                      <a:pt x="17" y="310"/>
                    </a:cubicBezTo>
                    <a:cubicBezTo>
                      <a:pt x="19" y="310"/>
                      <a:pt x="20" y="311"/>
                      <a:pt x="21" y="31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 name="Group 22">
              <a:extLst>
                <a:ext uri="{FF2B5EF4-FFF2-40B4-BE49-F238E27FC236}">
                  <a16:creationId xmlns:a16="http://schemas.microsoft.com/office/drawing/2014/main" id="{AD719ED4-1835-4EA3-96AB-246BE588336B}"/>
                </a:ext>
                <a:ext uri="{C183D7F6-B498-43B3-948B-1728B52AA6E4}">
                  <adec:decorative xmlns:adec="http://schemas.microsoft.com/office/drawing/2017/decorative" val="1"/>
                </a:ext>
              </a:extLst>
            </p:cNvPr>
            <p:cNvGrpSpPr/>
            <p:nvPr/>
          </p:nvGrpSpPr>
          <p:grpSpPr>
            <a:xfrm>
              <a:off x="6412070" y="3070510"/>
              <a:ext cx="87152" cy="921326"/>
              <a:chOff x="5907088" y="3094038"/>
              <a:chExt cx="88900" cy="939800"/>
            </a:xfrm>
          </p:grpSpPr>
          <p:sp>
            <p:nvSpPr>
              <p:cNvPr id="77" name="Freeform 43">
                <a:extLst>
                  <a:ext uri="{FF2B5EF4-FFF2-40B4-BE49-F238E27FC236}">
                    <a16:creationId xmlns:a16="http://schemas.microsoft.com/office/drawing/2014/main" id="{232BBDDE-67E7-4316-9335-59BA56178617}"/>
                  </a:ext>
                </a:extLst>
              </p:cNvPr>
              <p:cNvSpPr>
                <a:spLocks noEditPoints="1"/>
              </p:cNvSpPr>
              <p:nvPr/>
            </p:nvSpPr>
            <p:spPr bwMode="auto">
              <a:xfrm>
                <a:off x="5907088" y="3173413"/>
                <a:ext cx="63500" cy="860425"/>
              </a:xfrm>
              <a:custGeom>
                <a:avLst/>
                <a:gdLst>
                  <a:gd name="T0" fmla="*/ 18 w 20"/>
                  <a:gd name="T1" fmla="*/ 5 h 271"/>
                  <a:gd name="T2" fmla="*/ 10 w 20"/>
                  <a:gd name="T3" fmla="*/ 4 h 271"/>
                  <a:gd name="T4" fmla="*/ 15 w 20"/>
                  <a:gd name="T5" fmla="*/ 0 h 271"/>
                  <a:gd name="T6" fmla="*/ 14 w 20"/>
                  <a:gd name="T7" fmla="*/ 29 h 271"/>
                  <a:gd name="T8" fmla="*/ 10 w 20"/>
                  <a:gd name="T9" fmla="*/ 32 h 271"/>
                  <a:gd name="T10" fmla="*/ 10 w 20"/>
                  <a:gd name="T11" fmla="*/ 24 h 271"/>
                  <a:gd name="T12" fmla="*/ 8 w 20"/>
                  <a:gd name="T13" fmla="*/ 48 h 271"/>
                  <a:gd name="T14" fmla="*/ 7 w 20"/>
                  <a:gd name="T15" fmla="*/ 56 h 271"/>
                  <a:gd name="T16" fmla="*/ 7 w 20"/>
                  <a:gd name="T17" fmla="*/ 48 h 271"/>
                  <a:gd name="T18" fmla="*/ 6 w 20"/>
                  <a:gd name="T19" fmla="*/ 72 h 271"/>
                  <a:gd name="T20" fmla="*/ 5 w 20"/>
                  <a:gd name="T21" fmla="*/ 80 h 271"/>
                  <a:gd name="T22" fmla="*/ 5 w 20"/>
                  <a:gd name="T23" fmla="*/ 72 h 271"/>
                  <a:gd name="T24" fmla="*/ 4 w 20"/>
                  <a:gd name="T25" fmla="*/ 96 h 271"/>
                  <a:gd name="T26" fmla="*/ 4 w 20"/>
                  <a:gd name="T27" fmla="*/ 104 h 271"/>
                  <a:gd name="T28" fmla="*/ 4 w 20"/>
                  <a:gd name="T29" fmla="*/ 96 h 271"/>
                  <a:gd name="T30" fmla="*/ 8 w 20"/>
                  <a:gd name="T31" fmla="*/ 124 h 271"/>
                  <a:gd name="T32" fmla="*/ 0 w 20"/>
                  <a:gd name="T33" fmla="*/ 124 h 271"/>
                  <a:gd name="T34" fmla="*/ 4 w 20"/>
                  <a:gd name="T35" fmla="*/ 120 h 271"/>
                  <a:gd name="T36" fmla="*/ 4 w 20"/>
                  <a:gd name="T37" fmla="*/ 152 h 271"/>
                  <a:gd name="T38" fmla="*/ 4 w 20"/>
                  <a:gd name="T39" fmla="*/ 144 h 271"/>
                  <a:gd name="T40" fmla="*/ 8 w 20"/>
                  <a:gd name="T41" fmla="*/ 148 h 271"/>
                  <a:gd name="T42" fmla="*/ 5 w 20"/>
                  <a:gd name="T43" fmla="*/ 176 h 271"/>
                  <a:gd name="T44" fmla="*/ 4 w 20"/>
                  <a:gd name="T45" fmla="*/ 168 h 271"/>
                  <a:gd name="T46" fmla="*/ 9 w 20"/>
                  <a:gd name="T47" fmla="*/ 172 h 271"/>
                  <a:gd name="T48" fmla="*/ 7 w 20"/>
                  <a:gd name="T49" fmla="*/ 200 h 271"/>
                  <a:gd name="T50" fmla="*/ 6 w 20"/>
                  <a:gd name="T51" fmla="*/ 192 h 271"/>
                  <a:gd name="T52" fmla="*/ 10 w 20"/>
                  <a:gd name="T53" fmla="*/ 195 h 271"/>
                  <a:gd name="T54" fmla="*/ 9 w 20"/>
                  <a:gd name="T55" fmla="*/ 224 h 271"/>
                  <a:gd name="T56" fmla="*/ 8 w 20"/>
                  <a:gd name="T57" fmla="*/ 216 h 271"/>
                  <a:gd name="T58" fmla="*/ 13 w 20"/>
                  <a:gd name="T59" fmla="*/ 219 h 271"/>
                  <a:gd name="T60" fmla="*/ 16 w 20"/>
                  <a:gd name="T61" fmla="*/ 243 h 271"/>
                  <a:gd name="T62" fmla="*/ 8 w 20"/>
                  <a:gd name="T63" fmla="*/ 244 h 271"/>
                  <a:gd name="T64" fmla="*/ 12 w 20"/>
                  <a:gd name="T65" fmla="*/ 239 h 271"/>
                  <a:gd name="T66" fmla="*/ 20 w 20"/>
                  <a:gd name="T67" fmla="*/ 266 h 271"/>
                  <a:gd name="T68" fmla="*/ 12 w 20"/>
                  <a:gd name="T69" fmla="*/ 268 h 271"/>
                  <a:gd name="T70" fmla="*/ 16 w 20"/>
                  <a:gd name="T71" fmla="*/ 26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271">
                    <a:moveTo>
                      <a:pt x="15" y="0"/>
                    </a:moveTo>
                    <a:cubicBezTo>
                      <a:pt x="17" y="1"/>
                      <a:pt x="18" y="3"/>
                      <a:pt x="18" y="5"/>
                    </a:cubicBezTo>
                    <a:cubicBezTo>
                      <a:pt x="18" y="7"/>
                      <a:pt x="15" y="9"/>
                      <a:pt x="13" y="8"/>
                    </a:cubicBezTo>
                    <a:cubicBezTo>
                      <a:pt x="11" y="8"/>
                      <a:pt x="10" y="6"/>
                      <a:pt x="10" y="4"/>
                    </a:cubicBezTo>
                    <a:cubicBezTo>
                      <a:pt x="10" y="2"/>
                      <a:pt x="12" y="0"/>
                      <a:pt x="14" y="0"/>
                    </a:cubicBezTo>
                    <a:lnTo>
                      <a:pt x="15" y="0"/>
                    </a:lnTo>
                    <a:close/>
                    <a:moveTo>
                      <a:pt x="11" y="24"/>
                    </a:moveTo>
                    <a:cubicBezTo>
                      <a:pt x="13" y="24"/>
                      <a:pt x="15" y="26"/>
                      <a:pt x="14" y="29"/>
                    </a:cubicBezTo>
                    <a:cubicBezTo>
                      <a:pt x="14" y="29"/>
                      <a:pt x="14" y="29"/>
                      <a:pt x="14" y="29"/>
                    </a:cubicBezTo>
                    <a:cubicBezTo>
                      <a:pt x="14" y="31"/>
                      <a:pt x="12" y="32"/>
                      <a:pt x="10" y="32"/>
                    </a:cubicBezTo>
                    <a:cubicBezTo>
                      <a:pt x="8" y="32"/>
                      <a:pt x="6" y="30"/>
                      <a:pt x="6" y="28"/>
                    </a:cubicBezTo>
                    <a:cubicBezTo>
                      <a:pt x="7" y="26"/>
                      <a:pt x="8" y="24"/>
                      <a:pt x="10" y="24"/>
                    </a:cubicBezTo>
                    <a:lnTo>
                      <a:pt x="11" y="24"/>
                    </a:lnTo>
                    <a:close/>
                    <a:moveTo>
                      <a:pt x="8" y="48"/>
                    </a:moveTo>
                    <a:cubicBezTo>
                      <a:pt x="10" y="48"/>
                      <a:pt x="12" y="50"/>
                      <a:pt x="11" y="52"/>
                    </a:cubicBezTo>
                    <a:cubicBezTo>
                      <a:pt x="11" y="55"/>
                      <a:pt x="9" y="56"/>
                      <a:pt x="7" y="56"/>
                    </a:cubicBezTo>
                    <a:cubicBezTo>
                      <a:pt x="5" y="56"/>
                      <a:pt x="3" y="54"/>
                      <a:pt x="4" y="52"/>
                    </a:cubicBezTo>
                    <a:cubicBezTo>
                      <a:pt x="4" y="49"/>
                      <a:pt x="5" y="48"/>
                      <a:pt x="7" y="48"/>
                    </a:cubicBezTo>
                    <a:lnTo>
                      <a:pt x="8" y="48"/>
                    </a:lnTo>
                    <a:close/>
                    <a:moveTo>
                      <a:pt x="6" y="72"/>
                    </a:moveTo>
                    <a:cubicBezTo>
                      <a:pt x="8" y="72"/>
                      <a:pt x="10" y="74"/>
                      <a:pt x="9" y="76"/>
                    </a:cubicBezTo>
                    <a:cubicBezTo>
                      <a:pt x="9" y="78"/>
                      <a:pt x="7" y="80"/>
                      <a:pt x="5" y="80"/>
                    </a:cubicBezTo>
                    <a:cubicBezTo>
                      <a:pt x="3" y="80"/>
                      <a:pt x="1" y="78"/>
                      <a:pt x="1" y="76"/>
                    </a:cubicBezTo>
                    <a:cubicBezTo>
                      <a:pt x="2" y="73"/>
                      <a:pt x="3" y="72"/>
                      <a:pt x="5" y="72"/>
                    </a:cubicBezTo>
                    <a:lnTo>
                      <a:pt x="6" y="72"/>
                    </a:lnTo>
                    <a:close/>
                    <a:moveTo>
                      <a:pt x="4" y="96"/>
                    </a:moveTo>
                    <a:cubicBezTo>
                      <a:pt x="6" y="96"/>
                      <a:pt x="8" y="98"/>
                      <a:pt x="8" y="100"/>
                    </a:cubicBezTo>
                    <a:cubicBezTo>
                      <a:pt x="8" y="102"/>
                      <a:pt x="6" y="104"/>
                      <a:pt x="4" y="104"/>
                    </a:cubicBezTo>
                    <a:cubicBezTo>
                      <a:pt x="2" y="104"/>
                      <a:pt x="0" y="102"/>
                      <a:pt x="0" y="100"/>
                    </a:cubicBezTo>
                    <a:cubicBezTo>
                      <a:pt x="0" y="97"/>
                      <a:pt x="2" y="96"/>
                      <a:pt x="4" y="96"/>
                    </a:cubicBezTo>
                    <a:close/>
                    <a:moveTo>
                      <a:pt x="4" y="120"/>
                    </a:moveTo>
                    <a:cubicBezTo>
                      <a:pt x="6" y="120"/>
                      <a:pt x="8" y="122"/>
                      <a:pt x="8" y="124"/>
                    </a:cubicBezTo>
                    <a:cubicBezTo>
                      <a:pt x="8" y="126"/>
                      <a:pt x="6" y="128"/>
                      <a:pt x="4" y="128"/>
                    </a:cubicBezTo>
                    <a:cubicBezTo>
                      <a:pt x="1" y="128"/>
                      <a:pt x="0" y="126"/>
                      <a:pt x="0" y="124"/>
                    </a:cubicBezTo>
                    <a:cubicBezTo>
                      <a:pt x="0" y="124"/>
                      <a:pt x="0" y="124"/>
                      <a:pt x="0" y="124"/>
                    </a:cubicBezTo>
                    <a:cubicBezTo>
                      <a:pt x="0" y="122"/>
                      <a:pt x="1" y="120"/>
                      <a:pt x="4" y="120"/>
                    </a:cubicBezTo>
                    <a:close/>
                    <a:moveTo>
                      <a:pt x="8" y="148"/>
                    </a:moveTo>
                    <a:cubicBezTo>
                      <a:pt x="8" y="150"/>
                      <a:pt x="6" y="152"/>
                      <a:pt x="4" y="152"/>
                    </a:cubicBezTo>
                    <a:cubicBezTo>
                      <a:pt x="2" y="152"/>
                      <a:pt x="0" y="150"/>
                      <a:pt x="0" y="148"/>
                    </a:cubicBezTo>
                    <a:cubicBezTo>
                      <a:pt x="0" y="146"/>
                      <a:pt x="1" y="144"/>
                      <a:pt x="4" y="144"/>
                    </a:cubicBezTo>
                    <a:cubicBezTo>
                      <a:pt x="4" y="144"/>
                      <a:pt x="4" y="144"/>
                      <a:pt x="4" y="144"/>
                    </a:cubicBezTo>
                    <a:cubicBezTo>
                      <a:pt x="6" y="144"/>
                      <a:pt x="8" y="146"/>
                      <a:pt x="8" y="148"/>
                    </a:cubicBezTo>
                    <a:close/>
                    <a:moveTo>
                      <a:pt x="9" y="172"/>
                    </a:moveTo>
                    <a:cubicBezTo>
                      <a:pt x="9" y="174"/>
                      <a:pt x="7" y="176"/>
                      <a:pt x="5" y="176"/>
                    </a:cubicBezTo>
                    <a:cubicBezTo>
                      <a:pt x="3" y="176"/>
                      <a:pt x="1" y="174"/>
                      <a:pt x="1" y="172"/>
                    </a:cubicBezTo>
                    <a:cubicBezTo>
                      <a:pt x="1" y="170"/>
                      <a:pt x="2" y="168"/>
                      <a:pt x="4" y="168"/>
                    </a:cubicBezTo>
                    <a:cubicBezTo>
                      <a:pt x="5" y="168"/>
                      <a:pt x="5" y="168"/>
                      <a:pt x="5" y="168"/>
                    </a:cubicBezTo>
                    <a:cubicBezTo>
                      <a:pt x="7" y="168"/>
                      <a:pt x="9" y="169"/>
                      <a:pt x="9" y="172"/>
                    </a:cubicBezTo>
                    <a:close/>
                    <a:moveTo>
                      <a:pt x="10" y="195"/>
                    </a:moveTo>
                    <a:cubicBezTo>
                      <a:pt x="10" y="198"/>
                      <a:pt x="9" y="200"/>
                      <a:pt x="7" y="200"/>
                    </a:cubicBezTo>
                    <a:cubicBezTo>
                      <a:pt x="4" y="200"/>
                      <a:pt x="2" y="198"/>
                      <a:pt x="2" y="196"/>
                    </a:cubicBezTo>
                    <a:cubicBezTo>
                      <a:pt x="2" y="194"/>
                      <a:pt x="4" y="192"/>
                      <a:pt x="6" y="192"/>
                    </a:cubicBezTo>
                    <a:cubicBezTo>
                      <a:pt x="6" y="192"/>
                      <a:pt x="6" y="192"/>
                      <a:pt x="6" y="192"/>
                    </a:cubicBezTo>
                    <a:cubicBezTo>
                      <a:pt x="8" y="192"/>
                      <a:pt x="10" y="193"/>
                      <a:pt x="10" y="195"/>
                    </a:cubicBezTo>
                    <a:close/>
                    <a:moveTo>
                      <a:pt x="13" y="219"/>
                    </a:moveTo>
                    <a:cubicBezTo>
                      <a:pt x="13" y="221"/>
                      <a:pt x="11" y="223"/>
                      <a:pt x="9" y="224"/>
                    </a:cubicBezTo>
                    <a:cubicBezTo>
                      <a:pt x="7" y="224"/>
                      <a:pt x="5" y="222"/>
                      <a:pt x="5" y="220"/>
                    </a:cubicBezTo>
                    <a:cubicBezTo>
                      <a:pt x="4" y="218"/>
                      <a:pt x="6" y="216"/>
                      <a:pt x="8" y="216"/>
                    </a:cubicBezTo>
                    <a:cubicBezTo>
                      <a:pt x="9" y="216"/>
                      <a:pt x="9" y="216"/>
                      <a:pt x="9" y="216"/>
                    </a:cubicBezTo>
                    <a:cubicBezTo>
                      <a:pt x="11" y="216"/>
                      <a:pt x="12" y="217"/>
                      <a:pt x="13" y="219"/>
                    </a:cubicBezTo>
                    <a:close/>
                    <a:moveTo>
                      <a:pt x="16" y="243"/>
                    </a:moveTo>
                    <a:cubicBezTo>
                      <a:pt x="16" y="243"/>
                      <a:pt x="16" y="243"/>
                      <a:pt x="16" y="243"/>
                    </a:cubicBezTo>
                    <a:cubicBezTo>
                      <a:pt x="16" y="245"/>
                      <a:pt x="15" y="247"/>
                      <a:pt x="12" y="247"/>
                    </a:cubicBezTo>
                    <a:cubicBezTo>
                      <a:pt x="10" y="248"/>
                      <a:pt x="8" y="246"/>
                      <a:pt x="8" y="244"/>
                    </a:cubicBezTo>
                    <a:cubicBezTo>
                      <a:pt x="8" y="242"/>
                      <a:pt x="9" y="240"/>
                      <a:pt x="11" y="239"/>
                    </a:cubicBezTo>
                    <a:cubicBezTo>
                      <a:pt x="12" y="239"/>
                      <a:pt x="12" y="239"/>
                      <a:pt x="12" y="239"/>
                    </a:cubicBezTo>
                    <a:cubicBezTo>
                      <a:pt x="14" y="239"/>
                      <a:pt x="16" y="241"/>
                      <a:pt x="16" y="243"/>
                    </a:cubicBezTo>
                    <a:close/>
                    <a:moveTo>
                      <a:pt x="20" y="266"/>
                    </a:moveTo>
                    <a:cubicBezTo>
                      <a:pt x="20" y="269"/>
                      <a:pt x="19" y="271"/>
                      <a:pt x="17" y="271"/>
                    </a:cubicBezTo>
                    <a:cubicBezTo>
                      <a:pt x="14" y="271"/>
                      <a:pt x="12" y="270"/>
                      <a:pt x="12" y="268"/>
                    </a:cubicBezTo>
                    <a:cubicBezTo>
                      <a:pt x="12" y="266"/>
                      <a:pt x="13" y="264"/>
                      <a:pt x="15" y="263"/>
                    </a:cubicBezTo>
                    <a:cubicBezTo>
                      <a:pt x="16" y="263"/>
                      <a:pt x="16" y="263"/>
                      <a:pt x="16" y="263"/>
                    </a:cubicBezTo>
                    <a:cubicBezTo>
                      <a:pt x="18" y="263"/>
                      <a:pt x="19" y="264"/>
                      <a:pt x="20" y="26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45">
                <a:extLst>
                  <a:ext uri="{FF2B5EF4-FFF2-40B4-BE49-F238E27FC236}">
                    <a16:creationId xmlns:a16="http://schemas.microsoft.com/office/drawing/2014/main" id="{BA45E544-F7C0-4F7F-A8AB-899348AE51B2}"/>
                  </a:ext>
                </a:extLst>
              </p:cNvPr>
              <p:cNvSpPr>
                <a:spLocks/>
              </p:cNvSpPr>
              <p:nvPr/>
            </p:nvSpPr>
            <p:spPr bwMode="auto">
              <a:xfrm>
                <a:off x="5926138" y="3094038"/>
                <a:ext cx="69850" cy="53975"/>
              </a:xfrm>
              <a:custGeom>
                <a:avLst/>
                <a:gdLst>
                  <a:gd name="T0" fmla="*/ 13 w 22"/>
                  <a:gd name="T1" fmla="*/ 0 h 17"/>
                  <a:gd name="T2" fmla="*/ 21 w 22"/>
                  <a:gd name="T3" fmla="*/ 12 h 17"/>
                  <a:gd name="T4" fmla="*/ 20 w 22"/>
                  <a:gd name="T5" fmla="*/ 16 h 17"/>
                  <a:gd name="T6" fmla="*/ 16 w 22"/>
                  <a:gd name="T7" fmla="*/ 15 h 17"/>
                  <a:gd name="T8" fmla="*/ 12 w 22"/>
                  <a:gd name="T9" fmla="*/ 9 h 17"/>
                  <a:gd name="T10" fmla="*/ 5 w 22"/>
                  <a:gd name="T11" fmla="*/ 13 h 17"/>
                  <a:gd name="T12" fmla="*/ 1 w 22"/>
                  <a:gd name="T13" fmla="*/ 13 h 17"/>
                  <a:gd name="T14" fmla="*/ 2 w 22"/>
                  <a:gd name="T15" fmla="*/ 8 h 17"/>
                  <a:gd name="T16" fmla="*/ 13 w 22"/>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7">
                    <a:moveTo>
                      <a:pt x="13" y="0"/>
                    </a:moveTo>
                    <a:cubicBezTo>
                      <a:pt x="21" y="12"/>
                      <a:pt x="21" y="12"/>
                      <a:pt x="21" y="12"/>
                    </a:cubicBezTo>
                    <a:cubicBezTo>
                      <a:pt x="22" y="13"/>
                      <a:pt x="22" y="15"/>
                      <a:pt x="20" y="16"/>
                    </a:cubicBezTo>
                    <a:cubicBezTo>
                      <a:pt x="19" y="17"/>
                      <a:pt x="17" y="17"/>
                      <a:pt x="16" y="15"/>
                    </a:cubicBezTo>
                    <a:cubicBezTo>
                      <a:pt x="12" y="9"/>
                      <a:pt x="12" y="9"/>
                      <a:pt x="12" y="9"/>
                    </a:cubicBezTo>
                    <a:cubicBezTo>
                      <a:pt x="5" y="13"/>
                      <a:pt x="5" y="13"/>
                      <a:pt x="5" y="13"/>
                    </a:cubicBezTo>
                    <a:cubicBezTo>
                      <a:pt x="4" y="14"/>
                      <a:pt x="2" y="14"/>
                      <a:pt x="1" y="13"/>
                    </a:cubicBezTo>
                    <a:cubicBezTo>
                      <a:pt x="0" y="11"/>
                      <a:pt x="0" y="9"/>
                      <a:pt x="2" y="8"/>
                    </a:cubicBezTo>
                    <a:lnTo>
                      <a:pt x="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FA7D8F89-81CC-4384-B9DD-D0ECAB772BCD}"/>
                </a:ext>
                <a:ext uri="{C183D7F6-B498-43B3-948B-1728B52AA6E4}">
                  <adec:decorative xmlns:adec="http://schemas.microsoft.com/office/drawing/2017/decorative" val="1"/>
                </a:ext>
              </a:extLst>
            </p:cNvPr>
            <p:cNvGrpSpPr/>
            <p:nvPr/>
          </p:nvGrpSpPr>
          <p:grpSpPr>
            <a:xfrm>
              <a:off x="7096838" y="5356705"/>
              <a:ext cx="927551" cy="557153"/>
              <a:chOff x="6605588" y="5426075"/>
              <a:chExt cx="946150" cy="568325"/>
            </a:xfrm>
          </p:grpSpPr>
          <p:sp>
            <p:nvSpPr>
              <p:cNvPr id="75" name="Freeform 46">
                <a:extLst>
                  <a:ext uri="{FF2B5EF4-FFF2-40B4-BE49-F238E27FC236}">
                    <a16:creationId xmlns:a16="http://schemas.microsoft.com/office/drawing/2014/main" id="{2B611BD0-83E4-4AD4-A274-C38243C572D8}"/>
                  </a:ext>
                </a:extLst>
              </p:cNvPr>
              <p:cNvSpPr>
                <a:spLocks/>
              </p:cNvSpPr>
              <p:nvPr/>
            </p:nvSpPr>
            <p:spPr bwMode="auto">
              <a:xfrm>
                <a:off x="7497763" y="5924550"/>
                <a:ext cx="53975" cy="69850"/>
              </a:xfrm>
              <a:custGeom>
                <a:avLst/>
                <a:gdLst>
                  <a:gd name="T0" fmla="*/ 17 w 17"/>
                  <a:gd name="T1" fmla="*/ 15 h 22"/>
                  <a:gd name="T2" fmla="*/ 4 w 17"/>
                  <a:gd name="T3" fmla="*/ 21 h 22"/>
                  <a:gd name="T4" fmla="*/ 0 w 17"/>
                  <a:gd name="T5" fmla="*/ 20 h 22"/>
                  <a:gd name="T6" fmla="*/ 2 w 17"/>
                  <a:gd name="T7" fmla="*/ 16 h 22"/>
                  <a:gd name="T8" fmla="*/ 9 w 17"/>
                  <a:gd name="T9" fmla="*/ 12 h 22"/>
                  <a:gd name="T10" fmla="*/ 5 w 17"/>
                  <a:gd name="T11" fmla="*/ 5 h 22"/>
                  <a:gd name="T12" fmla="*/ 7 w 17"/>
                  <a:gd name="T13" fmla="*/ 1 h 22"/>
                  <a:gd name="T14" fmla="*/ 11 w 17"/>
                  <a:gd name="T15" fmla="*/ 3 h 22"/>
                  <a:gd name="T16" fmla="*/ 17 w 17"/>
                  <a:gd name="T1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2">
                    <a:moveTo>
                      <a:pt x="17" y="15"/>
                    </a:moveTo>
                    <a:cubicBezTo>
                      <a:pt x="4" y="21"/>
                      <a:pt x="4" y="21"/>
                      <a:pt x="4" y="21"/>
                    </a:cubicBezTo>
                    <a:cubicBezTo>
                      <a:pt x="3" y="22"/>
                      <a:pt x="1" y="22"/>
                      <a:pt x="0" y="20"/>
                    </a:cubicBezTo>
                    <a:cubicBezTo>
                      <a:pt x="0" y="19"/>
                      <a:pt x="0" y="17"/>
                      <a:pt x="2" y="16"/>
                    </a:cubicBezTo>
                    <a:cubicBezTo>
                      <a:pt x="9" y="12"/>
                      <a:pt x="9" y="12"/>
                      <a:pt x="9" y="12"/>
                    </a:cubicBezTo>
                    <a:cubicBezTo>
                      <a:pt x="5" y="5"/>
                      <a:pt x="5" y="5"/>
                      <a:pt x="5" y="5"/>
                    </a:cubicBezTo>
                    <a:cubicBezTo>
                      <a:pt x="5" y="4"/>
                      <a:pt x="5" y="2"/>
                      <a:pt x="7" y="1"/>
                    </a:cubicBezTo>
                    <a:cubicBezTo>
                      <a:pt x="8" y="0"/>
                      <a:pt x="10" y="1"/>
                      <a:pt x="11" y="3"/>
                    </a:cubicBezTo>
                    <a:lnTo>
                      <a:pt x="17"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48">
                <a:extLst>
                  <a:ext uri="{FF2B5EF4-FFF2-40B4-BE49-F238E27FC236}">
                    <a16:creationId xmlns:a16="http://schemas.microsoft.com/office/drawing/2014/main" id="{FC9464F2-9CD0-4350-B587-AF5E62E4CF35}"/>
                  </a:ext>
                </a:extLst>
              </p:cNvPr>
              <p:cNvSpPr>
                <a:spLocks noEditPoints="1"/>
              </p:cNvSpPr>
              <p:nvPr/>
            </p:nvSpPr>
            <p:spPr bwMode="auto">
              <a:xfrm>
                <a:off x="6605588" y="5426075"/>
                <a:ext cx="873125" cy="533400"/>
              </a:xfrm>
              <a:custGeom>
                <a:avLst/>
                <a:gdLst>
                  <a:gd name="T0" fmla="*/ 7 w 275"/>
                  <a:gd name="T1" fmla="*/ 1 h 168"/>
                  <a:gd name="T2" fmla="*/ 1 w 275"/>
                  <a:gd name="T3" fmla="*/ 7 h 168"/>
                  <a:gd name="T4" fmla="*/ 19 w 275"/>
                  <a:gd name="T5" fmla="*/ 18 h 168"/>
                  <a:gd name="T6" fmla="*/ 25 w 275"/>
                  <a:gd name="T7" fmla="*/ 23 h 168"/>
                  <a:gd name="T8" fmla="*/ 19 w 275"/>
                  <a:gd name="T9" fmla="*/ 23 h 168"/>
                  <a:gd name="T10" fmla="*/ 37 w 275"/>
                  <a:gd name="T11" fmla="*/ 33 h 168"/>
                  <a:gd name="T12" fmla="*/ 44 w 275"/>
                  <a:gd name="T13" fmla="*/ 38 h 168"/>
                  <a:gd name="T14" fmla="*/ 37 w 275"/>
                  <a:gd name="T15" fmla="*/ 33 h 168"/>
                  <a:gd name="T16" fmla="*/ 62 w 275"/>
                  <a:gd name="T17" fmla="*/ 47 h 168"/>
                  <a:gd name="T18" fmla="*/ 57 w 275"/>
                  <a:gd name="T19" fmla="*/ 53 h 168"/>
                  <a:gd name="T20" fmla="*/ 76 w 275"/>
                  <a:gd name="T21" fmla="*/ 62 h 168"/>
                  <a:gd name="T22" fmla="*/ 82 w 275"/>
                  <a:gd name="T23" fmla="*/ 66 h 168"/>
                  <a:gd name="T24" fmla="*/ 76 w 275"/>
                  <a:gd name="T25" fmla="*/ 62 h 168"/>
                  <a:gd name="T26" fmla="*/ 101 w 275"/>
                  <a:gd name="T27" fmla="*/ 74 h 168"/>
                  <a:gd name="T28" fmla="*/ 97 w 275"/>
                  <a:gd name="T29" fmla="*/ 81 h 168"/>
                  <a:gd name="T30" fmla="*/ 96 w 275"/>
                  <a:gd name="T31" fmla="*/ 75 h 168"/>
                  <a:gd name="T32" fmla="*/ 121 w 275"/>
                  <a:gd name="T33" fmla="*/ 87 h 168"/>
                  <a:gd name="T34" fmla="*/ 117 w 275"/>
                  <a:gd name="T35" fmla="*/ 94 h 168"/>
                  <a:gd name="T36" fmla="*/ 116 w 275"/>
                  <a:gd name="T37" fmla="*/ 88 h 168"/>
                  <a:gd name="T38" fmla="*/ 143 w 275"/>
                  <a:gd name="T39" fmla="*/ 105 h 168"/>
                  <a:gd name="T40" fmla="*/ 136 w 275"/>
                  <a:gd name="T41" fmla="*/ 101 h 168"/>
                  <a:gd name="T42" fmla="*/ 163 w 275"/>
                  <a:gd name="T43" fmla="*/ 111 h 168"/>
                  <a:gd name="T44" fmla="*/ 159 w 275"/>
                  <a:gd name="T45" fmla="*/ 118 h 168"/>
                  <a:gd name="T46" fmla="*/ 157 w 275"/>
                  <a:gd name="T47" fmla="*/ 112 h 168"/>
                  <a:gd name="T48" fmla="*/ 184 w 275"/>
                  <a:gd name="T49" fmla="*/ 122 h 168"/>
                  <a:gd name="T50" fmla="*/ 180 w 275"/>
                  <a:gd name="T51" fmla="*/ 129 h 168"/>
                  <a:gd name="T52" fmla="*/ 179 w 275"/>
                  <a:gd name="T53" fmla="*/ 123 h 168"/>
                  <a:gd name="T54" fmla="*/ 205 w 275"/>
                  <a:gd name="T55" fmla="*/ 132 h 168"/>
                  <a:gd name="T56" fmla="*/ 202 w 275"/>
                  <a:gd name="T57" fmla="*/ 140 h 168"/>
                  <a:gd name="T58" fmla="*/ 200 w 275"/>
                  <a:gd name="T59" fmla="*/ 134 h 168"/>
                  <a:gd name="T60" fmla="*/ 227 w 275"/>
                  <a:gd name="T61" fmla="*/ 142 h 168"/>
                  <a:gd name="T62" fmla="*/ 229 w 275"/>
                  <a:gd name="T63" fmla="*/ 147 h 168"/>
                  <a:gd name="T64" fmla="*/ 222 w 275"/>
                  <a:gd name="T65" fmla="*/ 144 h 168"/>
                  <a:gd name="T66" fmla="*/ 227 w 275"/>
                  <a:gd name="T67" fmla="*/ 142 h 168"/>
                  <a:gd name="T68" fmla="*/ 252 w 275"/>
                  <a:gd name="T69" fmla="*/ 156 h 168"/>
                  <a:gd name="T70" fmla="*/ 244 w 275"/>
                  <a:gd name="T71" fmla="*/ 153 h 168"/>
                  <a:gd name="T72" fmla="*/ 249 w 275"/>
                  <a:gd name="T73" fmla="*/ 151 h 168"/>
                  <a:gd name="T74" fmla="*/ 274 w 275"/>
                  <a:gd name="T75" fmla="*/ 164 h 168"/>
                  <a:gd name="T76" fmla="*/ 267 w 275"/>
                  <a:gd name="T77" fmla="*/ 162 h 168"/>
                  <a:gd name="T78" fmla="*/ 272 w 275"/>
                  <a:gd name="T79" fmla="*/ 15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5" h="168">
                    <a:moveTo>
                      <a:pt x="1" y="2"/>
                    </a:moveTo>
                    <a:cubicBezTo>
                      <a:pt x="3" y="0"/>
                      <a:pt x="5" y="0"/>
                      <a:pt x="7" y="1"/>
                    </a:cubicBezTo>
                    <a:cubicBezTo>
                      <a:pt x="8" y="3"/>
                      <a:pt x="8" y="5"/>
                      <a:pt x="7" y="7"/>
                    </a:cubicBezTo>
                    <a:cubicBezTo>
                      <a:pt x="6" y="9"/>
                      <a:pt x="3" y="9"/>
                      <a:pt x="1" y="7"/>
                    </a:cubicBezTo>
                    <a:cubicBezTo>
                      <a:pt x="0" y="6"/>
                      <a:pt x="0" y="4"/>
                      <a:pt x="1" y="2"/>
                    </a:cubicBezTo>
                    <a:close/>
                    <a:moveTo>
                      <a:pt x="19" y="18"/>
                    </a:moveTo>
                    <a:cubicBezTo>
                      <a:pt x="20" y="16"/>
                      <a:pt x="23" y="16"/>
                      <a:pt x="25" y="17"/>
                    </a:cubicBezTo>
                    <a:cubicBezTo>
                      <a:pt x="26" y="19"/>
                      <a:pt x="27" y="21"/>
                      <a:pt x="25" y="23"/>
                    </a:cubicBezTo>
                    <a:cubicBezTo>
                      <a:pt x="24" y="24"/>
                      <a:pt x="21" y="25"/>
                      <a:pt x="20" y="23"/>
                    </a:cubicBezTo>
                    <a:cubicBezTo>
                      <a:pt x="19" y="23"/>
                      <a:pt x="19" y="23"/>
                      <a:pt x="19" y="23"/>
                    </a:cubicBezTo>
                    <a:cubicBezTo>
                      <a:pt x="18" y="22"/>
                      <a:pt x="18" y="20"/>
                      <a:pt x="19" y="18"/>
                    </a:cubicBezTo>
                    <a:close/>
                    <a:moveTo>
                      <a:pt x="37" y="33"/>
                    </a:moveTo>
                    <a:cubicBezTo>
                      <a:pt x="39" y="31"/>
                      <a:pt x="41" y="31"/>
                      <a:pt x="43" y="32"/>
                    </a:cubicBezTo>
                    <a:cubicBezTo>
                      <a:pt x="45" y="34"/>
                      <a:pt x="45" y="36"/>
                      <a:pt x="44" y="38"/>
                    </a:cubicBezTo>
                    <a:cubicBezTo>
                      <a:pt x="42" y="40"/>
                      <a:pt x="40" y="40"/>
                      <a:pt x="38" y="39"/>
                    </a:cubicBezTo>
                    <a:cubicBezTo>
                      <a:pt x="37" y="37"/>
                      <a:pt x="36" y="35"/>
                      <a:pt x="37" y="33"/>
                    </a:cubicBezTo>
                    <a:close/>
                    <a:moveTo>
                      <a:pt x="56" y="48"/>
                    </a:moveTo>
                    <a:cubicBezTo>
                      <a:pt x="58" y="46"/>
                      <a:pt x="60" y="46"/>
                      <a:pt x="62" y="47"/>
                    </a:cubicBezTo>
                    <a:cubicBezTo>
                      <a:pt x="64" y="48"/>
                      <a:pt x="64" y="51"/>
                      <a:pt x="63" y="52"/>
                    </a:cubicBezTo>
                    <a:cubicBezTo>
                      <a:pt x="61" y="54"/>
                      <a:pt x="59" y="55"/>
                      <a:pt x="57" y="53"/>
                    </a:cubicBezTo>
                    <a:cubicBezTo>
                      <a:pt x="56" y="52"/>
                      <a:pt x="55" y="50"/>
                      <a:pt x="56" y="48"/>
                    </a:cubicBezTo>
                    <a:close/>
                    <a:moveTo>
                      <a:pt x="76" y="62"/>
                    </a:moveTo>
                    <a:cubicBezTo>
                      <a:pt x="77" y="60"/>
                      <a:pt x="80" y="60"/>
                      <a:pt x="81" y="61"/>
                    </a:cubicBezTo>
                    <a:cubicBezTo>
                      <a:pt x="83" y="62"/>
                      <a:pt x="84" y="65"/>
                      <a:pt x="82" y="66"/>
                    </a:cubicBezTo>
                    <a:cubicBezTo>
                      <a:pt x="81" y="68"/>
                      <a:pt x="79" y="69"/>
                      <a:pt x="77" y="67"/>
                    </a:cubicBezTo>
                    <a:cubicBezTo>
                      <a:pt x="75" y="66"/>
                      <a:pt x="75" y="64"/>
                      <a:pt x="76" y="62"/>
                    </a:cubicBezTo>
                    <a:close/>
                    <a:moveTo>
                      <a:pt x="96" y="75"/>
                    </a:moveTo>
                    <a:cubicBezTo>
                      <a:pt x="97" y="74"/>
                      <a:pt x="99" y="73"/>
                      <a:pt x="101" y="74"/>
                    </a:cubicBezTo>
                    <a:cubicBezTo>
                      <a:pt x="103" y="76"/>
                      <a:pt x="103" y="78"/>
                      <a:pt x="102" y="80"/>
                    </a:cubicBezTo>
                    <a:cubicBezTo>
                      <a:pt x="101" y="82"/>
                      <a:pt x="99" y="82"/>
                      <a:pt x="97" y="81"/>
                    </a:cubicBezTo>
                    <a:cubicBezTo>
                      <a:pt x="95" y="80"/>
                      <a:pt x="94" y="77"/>
                      <a:pt x="95" y="76"/>
                    </a:cubicBezTo>
                    <a:lnTo>
                      <a:pt x="96" y="75"/>
                    </a:lnTo>
                    <a:close/>
                    <a:moveTo>
                      <a:pt x="116" y="88"/>
                    </a:moveTo>
                    <a:cubicBezTo>
                      <a:pt x="117" y="87"/>
                      <a:pt x="119" y="86"/>
                      <a:pt x="121" y="87"/>
                    </a:cubicBezTo>
                    <a:cubicBezTo>
                      <a:pt x="123" y="88"/>
                      <a:pt x="124" y="91"/>
                      <a:pt x="123" y="93"/>
                    </a:cubicBezTo>
                    <a:cubicBezTo>
                      <a:pt x="121" y="95"/>
                      <a:pt x="119" y="95"/>
                      <a:pt x="117" y="94"/>
                    </a:cubicBezTo>
                    <a:cubicBezTo>
                      <a:pt x="115" y="93"/>
                      <a:pt x="115" y="90"/>
                      <a:pt x="116" y="89"/>
                    </a:cubicBezTo>
                    <a:lnTo>
                      <a:pt x="116" y="88"/>
                    </a:lnTo>
                    <a:close/>
                    <a:moveTo>
                      <a:pt x="142" y="99"/>
                    </a:moveTo>
                    <a:cubicBezTo>
                      <a:pt x="144" y="100"/>
                      <a:pt x="144" y="103"/>
                      <a:pt x="143" y="105"/>
                    </a:cubicBezTo>
                    <a:cubicBezTo>
                      <a:pt x="142" y="107"/>
                      <a:pt x="140" y="107"/>
                      <a:pt x="138" y="106"/>
                    </a:cubicBezTo>
                    <a:cubicBezTo>
                      <a:pt x="136" y="105"/>
                      <a:pt x="135" y="103"/>
                      <a:pt x="136" y="101"/>
                    </a:cubicBezTo>
                    <a:cubicBezTo>
                      <a:pt x="137" y="99"/>
                      <a:pt x="140" y="98"/>
                      <a:pt x="142" y="99"/>
                    </a:cubicBezTo>
                    <a:close/>
                    <a:moveTo>
                      <a:pt x="163" y="111"/>
                    </a:moveTo>
                    <a:cubicBezTo>
                      <a:pt x="165" y="112"/>
                      <a:pt x="165" y="114"/>
                      <a:pt x="164" y="116"/>
                    </a:cubicBezTo>
                    <a:cubicBezTo>
                      <a:pt x="163" y="118"/>
                      <a:pt x="161" y="119"/>
                      <a:pt x="159" y="118"/>
                    </a:cubicBezTo>
                    <a:cubicBezTo>
                      <a:pt x="157" y="117"/>
                      <a:pt x="156" y="115"/>
                      <a:pt x="157" y="113"/>
                    </a:cubicBezTo>
                    <a:cubicBezTo>
                      <a:pt x="157" y="112"/>
                      <a:pt x="157" y="112"/>
                      <a:pt x="157" y="112"/>
                    </a:cubicBezTo>
                    <a:cubicBezTo>
                      <a:pt x="158" y="111"/>
                      <a:pt x="161" y="110"/>
                      <a:pt x="163" y="111"/>
                    </a:cubicBezTo>
                    <a:close/>
                    <a:moveTo>
                      <a:pt x="184" y="122"/>
                    </a:moveTo>
                    <a:cubicBezTo>
                      <a:pt x="186" y="123"/>
                      <a:pt x="187" y="125"/>
                      <a:pt x="186" y="127"/>
                    </a:cubicBezTo>
                    <a:cubicBezTo>
                      <a:pt x="185" y="129"/>
                      <a:pt x="182" y="130"/>
                      <a:pt x="180" y="129"/>
                    </a:cubicBezTo>
                    <a:cubicBezTo>
                      <a:pt x="178" y="128"/>
                      <a:pt x="177" y="126"/>
                      <a:pt x="178" y="124"/>
                    </a:cubicBezTo>
                    <a:cubicBezTo>
                      <a:pt x="179" y="123"/>
                      <a:pt x="179" y="123"/>
                      <a:pt x="179" y="123"/>
                    </a:cubicBezTo>
                    <a:cubicBezTo>
                      <a:pt x="180" y="122"/>
                      <a:pt x="182" y="121"/>
                      <a:pt x="184" y="122"/>
                    </a:cubicBezTo>
                    <a:close/>
                    <a:moveTo>
                      <a:pt x="205" y="132"/>
                    </a:moveTo>
                    <a:cubicBezTo>
                      <a:pt x="207" y="133"/>
                      <a:pt x="208" y="136"/>
                      <a:pt x="207" y="138"/>
                    </a:cubicBezTo>
                    <a:cubicBezTo>
                      <a:pt x="206" y="140"/>
                      <a:pt x="204" y="140"/>
                      <a:pt x="202" y="140"/>
                    </a:cubicBezTo>
                    <a:cubicBezTo>
                      <a:pt x="200" y="139"/>
                      <a:pt x="199" y="136"/>
                      <a:pt x="200" y="134"/>
                    </a:cubicBezTo>
                    <a:cubicBezTo>
                      <a:pt x="200" y="134"/>
                      <a:pt x="200" y="134"/>
                      <a:pt x="200" y="134"/>
                    </a:cubicBezTo>
                    <a:cubicBezTo>
                      <a:pt x="201" y="132"/>
                      <a:pt x="203" y="131"/>
                      <a:pt x="205" y="132"/>
                    </a:cubicBezTo>
                    <a:close/>
                    <a:moveTo>
                      <a:pt x="227" y="142"/>
                    </a:moveTo>
                    <a:cubicBezTo>
                      <a:pt x="227" y="142"/>
                      <a:pt x="227" y="142"/>
                      <a:pt x="227" y="142"/>
                    </a:cubicBezTo>
                    <a:cubicBezTo>
                      <a:pt x="229" y="143"/>
                      <a:pt x="230" y="145"/>
                      <a:pt x="229" y="147"/>
                    </a:cubicBezTo>
                    <a:cubicBezTo>
                      <a:pt x="228" y="149"/>
                      <a:pt x="226" y="150"/>
                      <a:pt x="224" y="149"/>
                    </a:cubicBezTo>
                    <a:cubicBezTo>
                      <a:pt x="222" y="148"/>
                      <a:pt x="221" y="146"/>
                      <a:pt x="222" y="144"/>
                    </a:cubicBezTo>
                    <a:cubicBezTo>
                      <a:pt x="222" y="144"/>
                      <a:pt x="222" y="144"/>
                      <a:pt x="222" y="144"/>
                    </a:cubicBezTo>
                    <a:cubicBezTo>
                      <a:pt x="223" y="142"/>
                      <a:pt x="225" y="141"/>
                      <a:pt x="227" y="142"/>
                    </a:cubicBezTo>
                    <a:close/>
                    <a:moveTo>
                      <a:pt x="249" y="151"/>
                    </a:moveTo>
                    <a:cubicBezTo>
                      <a:pt x="251" y="152"/>
                      <a:pt x="252" y="154"/>
                      <a:pt x="252" y="156"/>
                    </a:cubicBezTo>
                    <a:cubicBezTo>
                      <a:pt x="251" y="158"/>
                      <a:pt x="248" y="159"/>
                      <a:pt x="246" y="158"/>
                    </a:cubicBezTo>
                    <a:cubicBezTo>
                      <a:pt x="244" y="158"/>
                      <a:pt x="243" y="155"/>
                      <a:pt x="244" y="153"/>
                    </a:cubicBezTo>
                    <a:cubicBezTo>
                      <a:pt x="244" y="153"/>
                      <a:pt x="244" y="153"/>
                      <a:pt x="244" y="153"/>
                    </a:cubicBezTo>
                    <a:cubicBezTo>
                      <a:pt x="245" y="151"/>
                      <a:pt x="247" y="150"/>
                      <a:pt x="249" y="151"/>
                    </a:cubicBezTo>
                    <a:close/>
                    <a:moveTo>
                      <a:pt x="272" y="159"/>
                    </a:moveTo>
                    <a:cubicBezTo>
                      <a:pt x="274" y="160"/>
                      <a:pt x="275" y="162"/>
                      <a:pt x="274" y="164"/>
                    </a:cubicBezTo>
                    <a:cubicBezTo>
                      <a:pt x="273" y="166"/>
                      <a:pt x="271" y="168"/>
                      <a:pt x="269" y="167"/>
                    </a:cubicBezTo>
                    <a:cubicBezTo>
                      <a:pt x="267" y="166"/>
                      <a:pt x="266" y="164"/>
                      <a:pt x="267" y="162"/>
                    </a:cubicBezTo>
                    <a:cubicBezTo>
                      <a:pt x="267" y="161"/>
                      <a:pt x="267" y="161"/>
                      <a:pt x="267" y="161"/>
                    </a:cubicBezTo>
                    <a:cubicBezTo>
                      <a:pt x="268" y="159"/>
                      <a:pt x="270" y="159"/>
                      <a:pt x="272" y="159"/>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5" name="Group 24">
              <a:extLst>
                <a:ext uri="{FF2B5EF4-FFF2-40B4-BE49-F238E27FC236}">
                  <a16:creationId xmlns:a16="http://schemas.microsoft.com/office/drawing/2014/main" id="{D98F8974-8052-4359-BBF6-AD3506C5CAB3}"/>
                </a:ext>
                <a:ext uri="{C183D7F6-B498-43B3-948B-1728B52AA6E4}">
                  <adec:decorative xmlns:adec="http://schemas.microsoft.com/office/drawing/2017/decorative" val="1"/>
                </a:ext>
              </a:extLst>
            </p:cNvPr>
            <p:cNvGrpSpPr/>
            <p:nvPr/>
          </p:nvGrpSpPr>
          <p:grpSpPr>
            <a:xfrm>
              <a:off x="7193329" y="5283559"/>
              <a:ext cx="796822" cy="480895"/>
              <a:chOff x="6704013" y="5351463"/>
              <a:chExt cx="812800" cy="490538"/>
            </a:xfrm>
          </p:grpSpPr>
          <p:sp>
            <p:nvSpPr>
              <p:cNvPr id="73" name="Freeform 47">
                <a:extLst>
                  <a:ext uri="{FF2B5EF4-FFF2-40B4-BE49-F238E27FC236}">
                    <a16:creationId xmlns:a16="http://schemas.microsoft.com/office/drawing/2014/main" id="{6D50C008-E5AB-4CDD-9C67-D7AE674C7B9C}"/>
                  </a:ext>
                </a:extLst>
              </p:cNvPr>
              <p:cNvSpPr>
                <a:spLocks noEditPoints="1"/>
              </p:cNvSpPr>
              <p:nvPr/>
            </p:nvSpPr>
            <p:spPr bwMode="auto">
              <a:xfrm>
                <a:off x="6761163" y="5402263"/>
                <a:ext cx="755650" cy="439738"/>
              </a:xfrm>
              <a:custGeom>
                <a:avLst/>
                <a:gdLst>
                  <a:gd name="T0" fmla="*/ 7 w 238"/>
                  <a:gd name="T1" fmla="*/ 1 h 138"/>
                  <a:gd name="T2" fmla="*/ 2 w 238"/>
                  <a:gd name="T3" fmla="*/ 7 h 138"/>
                  <a:gd name="T4" fmla="*/ 2 w 238"/>
                  <a:gd name="T5" fmla="*/ 2 h 138"/>
                  <a:gd name="T6" fmla="*/ 26 w 238"/>
                  <a:gd name="T7" fmla="*/ 16 h 138"/>
                  <a:gd name="T8" fmla="*/ 27 w 238"/>
                  <a:gd name="T9" fmla="*/ 22 h 138"/>
                  <a:gd name="T10" fmla="*/ 20 w 238"/>
                  <a:gd name="T11" fmla="*/ 17 h 138"/>
                  <a:gd name="T12" fmla="*/ 45 w 238"/>
                  <a:gd name="T13" fmla="*/ 30 h 138"/>
                  <a:gd name="T14" fmla="*/ 40 w 238"/>
                  <a:gd name="T15" fmla="*/ 37 h 138"/>
                  <a:gd name="T16" fmla="*/ 40 w 238"/>
                  <a:gd name="T17" fmla="*/ 31 h 138"/>
                  <a:gd name="T18" fmla="*/ 65 w 238"/>
                  <a:gd name="T19" fmla="*/ 44 h 138"/>
                  <a:gd name="T20" fmla="*/ 60 w 238"/>
                  <a:gd name="T21" fmla="*/ 51 h 138"/>
                  <a:gd name="T22" fmla="*/ 79 w 238"/>
                  <a:gd name="T23" fmla="*/ 58 h 138"/>
                  <a:gd name="T24" fmla="*/ 86 w 238"/>
                  <a:gd name="T25" fmla="*/ 63 h 138"/>
                  <a:gd name="T26" fmla="*/ 79 w 238"/>
                  <a:gd name="T27" fmla="*/ 58 h 138"/>
                  <a:gd name="T28" fmla="*/ 105 w 238"/>
                  <a:gd name="T29" fmla="*/ 70 h 138"/>
                  <a:gd name="T30" fmla="*/ 101 w 238"/>
                  <a:gd name="T31" fmla="*/ 76 h 138"/>
                  <a:gd name="T32" fmla="*/ 100 w 238"/>
                  <a:gd name="T33" fmla="*/ 71 h 138"/>
                  <a:gd name="T34" fmla="*/ 127 w 238"/>
                  <a:gd name="T35" fmla="*/ 87 h 138"/>
                  <a:gd name="T36" fmla="*/ 120 w 238"/>
                  <a:gd name="T37" fmla="*/ 83 h 138"/>
                  <a:gd name="T38" fmla="*/ 126 w 238"/>
                  <a:gd name="T39" fmla="*/ 81 h 138"/>
                  <a:gd name="T40" fmla="*/ 149 w 238"/>
                  <a:gd name="T41" fmla="*/ 98 h 138"/>
                  <a:gd name="T42" fmla="*/ 142 w 238"/>
                  <a:gd name="T43" fmla="*/ 94 h 138"/>
                  <a:gd name="T44" fmla="*/ 147 w 238"/>
                  <a:gd name="T45" fmla="*/ 92 h 138"/>
                  <a:gd name="T46" fmla="*/ 170 w 238"/>
                  <a:gd name="T47" fmla="*/ 108 h 138"/>
                  <a:gd name="T48" fmla="*/ 163 w 238"/>
                  <a:gd name="T49" fmla="*/ 105 h 138"/>
                  <a:gd name="T50" fmla="*/ 168 w 238"/>
                  <a:gd name="T51" fmla="*/ 103 h 138"/>
                  <a:gd name="T52" fmla="*/ 192 w 238"/>
                  <a:gd name="T53" fmla="*/ 118 h 138"/>
                  <a:gd name="T54" fmla="*/ 185 w 238"/>
                  <a:gd name="T55" fmla="*/ 115 h 138"/>
                  <a:gd name="T56" fmla="*/ 190 w 238"/>
                  <a:gd name="T57" fmla="*/ 113 h 138"/>
                  <a:gd name="T58" fmla="*/ 212 w 238"/>
                  <a:gd name="T59" fmla="*/ 122 h 138"/>
                  <a:gd name="T60" fmla="*/ 209 w 238"/>
                  <a:gd name="T61" fmla="*/ 129 h 138"/>
                  <a:gd name="T62" fmla="*/ 207 w 238"/>
                  <a:gd name="T63" fmla="*/ 124 h 138"/>
                  <a:gd name="T64" fmla="*/ 235 w 238"/>
                  <a:gd name="T65" fmla="*/ 130 h 138"/>
                  <a:gd name="T66" fmla="*/ 232 w 238"/>
                  <a:gd name="T67" fmla="*/ 138 h 138"/>
                  <a:gd name="T68" fmla="*/ 230 w 238"/>
                  <a:gd name="T69" fmla="*/ 13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8" h="138">
                    <a:moveTo>
                      <a:pt x="2" y="2"/>
                    </a:moveTo>
                    <a:cubicBezTo>
                      <a:pt x="3" y="0"/>
                      <a:pt x="6" y="0"/>
                      <a:pt x="7" y="1"/>
                    </a:cubicBezTo>
                    <a:cubicBezTo>
                      <a:pt x="9" y="3"/>
                      <a:pt x="9" y="5"/>
                      <a:pt x="8" y="7"/>
                    </a:cubicBezTo>
                    <a:cubicBezTo>
                      <a:pt x="6" y="9"/>
                      <a:pt x="4" y="9"/>
                      <a:pt x="2" y="7"/>
                    </a:cubicBezTo>
                    <a:cubicBezTo>
                      <a:pt x="1" y="6"/>
                      <a:pt x="0" y="4"/>
                      <a:pt x="1" y="2"/>
                    </a:cubicBezTo>
                    <a:lnTo>
                      <a:pt x="2" y="2"/>
                    </a:lnTo>
                    <a:close/>
                    <a:moveTo>
                      <a:pt x="20" y="17"/>
                    </a:moveTo>
                    <a:cubicBezTo>
                      <a:pt x="22" y="15"/>
                      <a:pt x="24" y="15"/>
                      <a:pt x="26" y="16"/>
                    </a:cubicBezTo>
                    <a:cubicBezTo>
                      <a:pt x="26" y="16"/>
                      <a:pt x="26" y="16"/>
                      <a:pt x="26" y="16"/>
                    </a:cubicBezTo>
                    <a:cubicBezTo>
                      <a:pt x="28" y="17"/>
                      <a:pt x="28" y="20"/>
                      <a:pt x="27" y="22"/>
                    </a:cubicBezTo>
                    <a:cubicBezTo>
                      <a:pt x="25" y="23"/>
                      <a:pt x="23" y="24"/>
                      <a:pt x="21" y="22"/>
                    </a:cubicBezTo>
                    <a:cubicBezTo>
                      <a:pt x="20" y="21"/>
                      <a:pt x="19" y="19"/>
                      <a:pt x="20" y="17"/>
                    </a:cubicBezTo>
                    <a:close/>
                    <a:moveTo>
                      <a:pt x="40" y="31"/>
                    </a:moveTo>
                    <a:cubicBezTo>
                      <a:pt x="41" y="29"/>
                      <a:pt x="43" y="29"/>
                      <a:pt x="45" y="30"/>
                    </a:cubicBezTo>
                    <a:cubicBezTo>
                      <a:pt x="47" y="32"/>
                      <a:pt x="47" y="34"/>
                      <a:pt x="46" y="36"/>
                    </a:cubicBezTo>
                    <a:cubicBezTo>
                      <a:pt x="45" y="38"/>
                      <a:pt x="42" y="38"/>
                      <a:pt x="40" y="37"/>
                    </a:cubicBezTo>
                    <a:cubicBezTo>
                      <a:pt x="39" y="36"/>
                      <a:pt x="38" y="33"/>
                      <a:pt x="39" y="32"/>
                    </a:cubicBezTo>
                    <a:lnTo>
                      <a:pt x="40" y="31"/>
                    </a:lnTo>
                    <a:close/>
                    <a:moveTo>
                      <a:pt x="59" y="45"/>
                    </a:moveTo>
                    <a:cubicBezTo>
                      <a:pt x="60" y="43"/>
                      <a:pt x="63" y="43"/>
                      <a:pt x="65" y="44"/>
                    </a:cubicBezTo>
                    <a:cubicBezTo>
                      <a:pt x="67" y="45"/>
                      <a:pt x="67" y="48"/>
                      <a:pt x="66" y="50"/>
                    </a:cubicBezTo>
                    <a:cubicBezTo>
                      <a:pt x="65" y="51"/>
                      <a:pt x="62" y="52"/>
                      <a:pt x="60" y="51"/>
                    </a:cubicBezTo>
                    <a:cubicBezTo>
                      <a:pt x="58" y="49"/>
                      <a:pt x="58" y="47"/>
                      <a:pt x="59" y="45"/>
                    </a:cubicBezTo>
                    <a:close/>
                    <a:moveTo>
                      <a:pt x="79" y="58"/>
                    </a:moveTo>
                    <a:cubicBezTo>
                      <a:pt x="80" y="56"/>
                      <a:pt x="83" y="56"/>
                      <a:pt x="85" y="57"/>
                    </a:cubicBezTo>
                    <a:cubicBezTo>
                      <a:pt x="87" y="58"/>
                      <a:pt x="87" y="61"/>
                      <a:pt x="86" y="63"/>
                    </a:cubicBezTo>
                    <a:cubicBezTo>
                      <a:pt x="85" y="64"/>
                      <a:pt x="82" y="65"/>
                      <a:pt x="80" y="64"/>
                    </a:cubicBezTo>
                    <a:cubicBezTo>
                      <a:pt x="79" y="63"/>
                      <a:pt x="78" y="60"/>
                      <a:pt x="79" y="58"/>
                    </a:cubicBezTo>
                    <a:close/>
                    <a:moveTo>
                      <a:pt x="100" y="71"/>
                    </a:moveTo>
                    <a:cubicBezTo>
                      <a:pt x="101" y="69"/>
                      <a:pt x="103" y="68"/>
                      <a:pt x="105" y="70"/>
                    </a:cubicBezTo>
                    <a:cubicBezTo>
                      <a:pt x="107" y="71"/>
                      <a:pt x="108" y="73"/>
                      <a:pt x="106" y="75"/>
                    </a:cubicBezTo>
                    <a:cubicBezTo>
                      <a:pt x="105" y="77"/>
                      <a:pt x="103" y="78"/>
                      <a:pt x="101" y="76"/>
                    </a:cubicBezTo>
                    <a:cubicBezTo>
                      <a:pt x="101" y="76"/>
                      <a:pt x="101" y="76"/>
                      <a:pt x="101" y="76"/>
                    </a:cubicBezTo>
                    <a:cubicBezTo>
                      <a:pt x="99" y="75"/>
                      <a:pt x="98" y="73"/>
                      <a:pt x="100" y="71"/>
                    </a:cubicBezTo>
                    <a:close/>
                    <a:moveTo>
                      <a:pt x="126" y="81"/>
                    </a:moveTo>
                    <a:cubicBezTo>
                      <a:pt x="128" y="82"/>
                      <a:pt x="128" y="85"/>
                      <a:pt x="127" y="87"/>
                    </a:cubicBezTo>
                    <a:cubicBezTo>
                      <a:pt x="126" y="89"/>
                      <a:pt x="124" y="89"/>
                      <a:pt x="122" y="88"/>
                    </a:cubicBezTo>
                    <a:cubicBezTo>
                      <a:pt x="120" y="87"/>
                      <a:pt x="119" y="85"/>
                      <a:pt x="120" y="83"/>
                    </a:cubicBezTo>
                    <a:cubicBezTo>
                      <a:pt x="120" y="83"/>
                      <a:pt x="120" y="83"/>
                      <a:pt x="120" y="83"/>
                    </a:cubicBezTo>
                    <a:cubicBezTo>
                      <a:pt x="122" y="81"/>
                      <a:pt x="124" y="80"/>
                      <a:pt x="126" y="81"/>
                    </a:cubicBezTo>
                    <a:close/>
                    <a:moveTo>
                      <a:pt x="147" y="92"/>
                    </a:moveTo>
                    <a:cubicBezTo>
                      <a:pt x="149" y="93"/>
                      <a:pt x="150" y="96"/>
                      <a:pt x="149" y="98"/>
                    </a:cubicBezTo>
                    <a:cubicBezTo>
                      <a:pt x="148" y="100"/>
                      <a:pt x="145" y="101"/>
                      <a:pt x="143" y="100"/>
                    </a:cubicBezTo>
                    <a:cubicBezTo>
                      <a:pt x="141" y="99"/>
                      <a:pt x="141" y="96"/>
                      <a:pt x="142" y="94"/>
                    </a:cubicBezTo>
                    <a:cubicBezTo>
                      <a:pt x="142" y="94"/>
                      <a:pt x="142" y="94"/>
                      <a:pt x="142" y="94"/>
                    </a:cubicBezTo>
                    <a:cubicBezTo>
                      <a:pt x="143" y="92"/>
                      <a:pt x="145" y="91"/>
                      <a:pt x="147" y="92"/>
                    </a:cubicBezTo>
                    <a:close/>
                    <a:moveTo>
                      <a:pt x="168" y="103"/>
                    </a:moveTo>
                    <a:cubicBezTo>
                      <a:pt x="170" y="104"/>
                      <a:pt x="171" y="106"/>
                      <a:pt x="170" y="108"/>
                    </a:cubicBezTo>
                    <a:cubicBezTo>
                      <a:pt x="169" y="110"/>
                      <a:pt x="167" y="111"/>
                      <a:pt x="165" y="110"/>
                    </a:cubicBezTo>
                    <a:cubicBezTo>
                      <a:pt x="163" y="109"/>
                      <a:pt x="162" y="107"/>
                      <a:pt x="163" y="105"/>
                    </a:cubicBezTo>
                    <a:cubicBezTo>
                      <a:pt x="163" y="105"/>
                      <a:pt x="163" y="105"/>
                      <a:pt x="163" y="105"/>
                    </a:cubicBezTo>
                    <a:cubicBezTo>
                      <a:pt x="164" y="103"/>
                      <a:pt x="166" y="102"/>
                      <a:pt x="168" y="103"/>
                    </a:cubicBezTo>
                    <a:close/>
                    <a:moveTo>
                      <a:pt x="190" y="113"/>
                    </a:moveTo>
                    <a:cubicBezTo>
                      <a:pt x="192" y="114"/>
                      <a:pt x="193" y="116"/>
                      <a:pt x="192" y="118"/>
                    </a:cubicBezTo>
                    <a:cubicBezTo>
                      <a:pt x="191" y="120"/>
                      <a:pt x="189" y="121"/>
                      <a:pt x="187" y="120"/>
                    </a:cubicBezTo>
                    <a:cubicBezTo>
                      <a:pt x="185" y="119"/>
                      <a:pt x="184" y="117"/>
                      <a:pt x="185" y="115"/>
                    </a:cubicBezTo>
                    <a:cubicBezTo>
                      <a:pt x="185" y="114"/>
                      <a:pt x="185" y="114"/>
                      <a:pt x="185" y="114"/>
                    </a:cubicBezTo>
                    <a:cubicBezTo>
                      <a:pt x="186" y="113"/>
                      <a:pt x="188" y="112"/>
                      <a:pt x="190" y="113"/>
                    </a:cubicBezTo>
                    <a:close/>
                    <a:moveTo>
                      <a:pt x="212" y="122"/>
                    </a:moveTo>
                    <a:cubicBezTo>
                      <a:pt x="212" y="122"/>
                      <a:pt x="212" y="122"/>
                      <a:pt x="212" y="122"/>
                    </a:cubicBezTo>
                    <a:cubicBezTo>
                      <a:pt x="214" y="123"/>
                      <a:pt x="215" y="125"/>
                      <a:pt x="214" y="127"/>
                    </a:cubicBezTo>
                    <a:cubicBezTo>
                      <a:pt x="214" y="129"/>
                      <a:pt x="211" y="130"/>
                      <a:pt x="209" y="129"/>
                    </a:cubicBezTo>
                    <a:cubicBezTo>
                      <a:pt x="207" y="128"/>
                      <a:pt x="206" y="126"/>
                      <a:pt x="207" y="124"/>
                    </a:cubicBezTo>
                    <a:cubicBezTo>
                      <a:pt x="207" y="124"/>
                      <a:pt x="207" y="124"/>
                      <a:pt x="207" y="124"/>
                    </a:cubicBezTo>
                    <a:cubicBezTo>
                      <a:pt x="208" y="122"/>
                      <a:pt x="210" y="121"/>
                      <a:pt x="212" y="122"/>
                    </a:cubicBezTo>
                    <a:close/>
                    <a:moveTo>
                      <a:pt x="235" y="130"/>
                    </a:moveTo>
                    <a:cubicBezTo>
                      <a:pt x="237" y="131"/>
                      <a:pt x="238" y="133"/>
                      <a:pt x="237" y="135"/>
                    </a:cubicBezTo>
                    <a:cubicBezTo>
                      <a:pt x="236" y="137"/>
                      <a:pt x="234" y="138"/>
                      <a:pt x="232" y="138"/>
                    </a:cubicBezTo>
                    <a:cubicBezTo>
                      <a:pt x="230" y="137"/>
                      <a:pt x="229" y="135"/>
                      <a:pt x="229" y="133"/>
                    </a:cubicBezTo>
                    <a:cubicBezTo>
                      <a:pt x="230" y="132"/>
                      <a:pt x="230" y="132"/>
                      <a:pt x="230" y="132"/>
                    </a:cubicBezTo>
                    <a:cubicBezTo>
                      <a:pt x="231" y="130"/>
                      <a:pt x="233" y="129"/>
                      <a:pt x="235" y="130"/>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49">
                <a:extLst>
                  <a:ext uri="{FF2B5EF4-FFF2-40B4-BE49-F238E27FC236}">
                    <a16:creationId xmlns:a16="http://schemas.microsoft.com/office/drawing/2014/main" id="{188EF41B-CE77-4A1C-A597-F1F2F499F46D}"/>
                  </a:ext>
                </a:extLst>
              </p:cNvPr>
              <p:cNvSpPr>
                <a:spLocks/>
              </p:cNvSpPr>
              <p:nvPr/>
            </p:nvSpPr>
            <p:spPr bwMode="auto">
              <a:xfrm>
                <a:off x="6704013" y="5351463"/>
                <a:ext cx="57150" cy="57150"/>
              </a:xfrm>
              <a:custGeom>
                <a:avLst/>
                <a:gdLst>
                  <a:gd name="T0" fmla="*/ 0 w 18"/>
                  <a:gd name="T1" fmla="*/ 1 h 18"/>
                  <a:gd name="T2" fmla="*/ 14 w 18"/>
                  <a:gd name="T3" fmla="*/ 0 h 18"/>
                  <a:gd name="T4" fmla="*/ 18 w 18"/>
                  <a:gd name="T5" fmla="*/ 3 h 18"/>
                  <a:gd name="T6" fmla="*/ 15 w 18"/>
                  <a:gd name="T7" fmla="*/ 6 h 18"/>
                  <a:gd name="T8" fmla="*/ 7 w 18"/>
                  <a:gd name="T9" fmla="*/ 7 h 18"/>
                  <a:gd name="T10" fmla="*/ 7 w 18"/>
                  <a:gd name="T11" fmla="*/ 15 h 18"/>
                  <a:gd name="T12" fmla="*/ 5 w 18"/>
                  <a:gd name="T13" fmla="*/ 18 h 18"/>
                  <a:gd name="T14" fmla="*/ 1 w 18"/>
                  <a:gd name="T15" fmla="*/ 15 h 18"/>
                  <a:gd name="T16" fmla="*/ 0 w 18"/>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0" y="1"/>
                    </a:moveTo>
                    <a:cubicBezTo>
                      <a:pt x="14" y="0"/>
                      <a:pt x="14" y="0"/>
                      <a:pt x="14" y="0"/>
                    </a:cubicBezTo>
                    <a:cubicBezTo>
                      <a:pt x="16" y="0"/>
                      <a:pt x="18" y="1"/>
                      <a:pt x="18" y="3"/>
                    </a:cubicBezTo>
                    <a:cubicBezTo>
                      <a:pt x="18" y="4"/>
                      <a:pt x="17" y="6"/>
                      <a:pt x="15" y="6"/>
                    </a:cubicBezTo>
                    <a:cubicBezTo>
                      <a:pt x="7" y="7"/>
                      <a:pt x="7" y="7"/>
                      <a:pt x="7" y="7"/>
                    </a:cubicBezTo>
                    <a:cubicBezTo>
                      <a:pt x="7" y="15"/>
                      <a:pt x="7" y="15"/>
                      <a:pt x="7" y="15"/>
                    </a:cubicBezTo>
                    <a:cubicBezTo>
                      <a:pt x="8" y="16"/>
                      <a:pt x="6" y="18"/>
                      <a:pt x="5" y="18"/>
                    </a:cubicBezTo>
                    <a:cubicBezTo>
                      <a:pt x="3" y="18"/>
                      <a:pt x="2" y="17"/>
                      <a:pt x="1" y="15"/>
                    </a:cubicBezTo>
                    <a:lnTo>
                      <a:pt x="0" y="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B239DA46-434C-45F8-A100-8E8E2D91EBF3}"/>
                </a:ext>
                <a:ext uri="{C183D7F6-B498-43B3-948B-1728B52AA6E4}">
                  <adec:decorative xmlns:adec="http://schemas.microsoft.com/office/drawing/2017/decorative" val="1"/>
                </a:ext>
              </a:extLst>
            </p:cNvPr>
            <p:cNvGrpSpPr/>
            <p:nvPr/>
          </p:nvGrpSpPr>
          <p:grpSpPr>
            <a:xfrm>
              <a:off x="9487305" y="5350479"/>
              <a:ext cx="922882" cy="547815"/>
              <a:chOff x="9043988" y="5419725"/>
              <a:chExt cx="941388" cy="558800"/>
            </a:xfrm>
          </p:grpSpPr>
          <p:sp>
            <p:nvSpPr>
              <p:cNvPr id="71" name="Freeform 50">
                <a:extLst>
                  <a:ext uri="{FF2B5EF4-FFF2-40B4-BE49-F238E27FC236}">
                    <a16:creationId xmlns:a16="http://schemas.microsoft.com/office/drawing/2014/main" id="{3FB36C20-4127-47BF-AE84-43FE6437F396}"/>
                  </a:ext>
                </a:extLst>
              </p:cNvPr>
              <p:cNvSpPr>
                <a:spLocks/>
              </p:cNvSpPr>
              <p:nvPr/>
            </p:nvSpPr>
            <p:spPr bwMode="auto">
              <a:xfrm>
                <a:off x="9931401" y="5419725"/>
                <a:ext cx="53975" cy="57150"/>
              </a:xfrm>
              <a:custGeom>
                <a:avLst/>
                <a:gdLst>
                  <a:gd name="T0" fmla="*/ 17 w 17"/>
                  <a:gd name="T1" fmla="*/ 1 h 18"/>
                  <a:gd name="T2" fmla="*/ 16 w 17"/>
                  <a:gd name="T3" fmla="*/ 15 h 18"/>
                  <a:gd name="T4" fmla="*/ 13 w 17"/>
                  <a:gd name="T5" fmla="*/ 18 h 18"/>
                  <a:gd name="T6" fmla="*/ 10 w 17"/>
                  <a:gd name="T7" fmla="*/ 15 h 18"/>
                  <a:gd name="T8" fmla="*/ 11 w 17"/>
                  <a:gd name="T9" fmla="*/ 7 h 18"/>
                  <a:gd name="T10" fmla="*/ 3 w 17"/>
                  <a:gd name="T11" fmla="*/ 6 h 18"/>
                  <a:gd name="T12" fmla="*/ 0 w 17"/>
                  <a:gd name="T13" fmla="*/ 3 h 18"/>
                  <a:gd name="T14" fmla="*/ 3 w 17"/>
                  <a:gd name="T15" fmla="*/ 0 h 18"/>
                  <a:gd name="T16" fmla="*/ 17 w 17"/>
                  <a:gd name="T17"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17" y="1"/>
                    </a:moveTo>
                    <a:cubicBezTo>
                      <a:pt x="16" y="15"/>
                      <a:pt x="16" y="15"/>
                      <a:pt x="16" y="15"/>
                    </a:cubicBezTo>
                    <a:cubicBezTo>
                      <a:pt x="16" y="17"/>
                      <a:pt x="15" y="18"/>
                      <a:pt x="13" y="18"/>
                    </a:cubicBezTo>
                    <a:cubicBezTo>
                      <a:pt x="12" y="18"/>
                      <a:pt x="10" y="16"/>
                      <a:pt x="10" y="15"/>
                    </a:cubicBezTo>
                    <a:cubicBezTo>
                      <a:pt x="11" y="7"/>
                      <a:pt x="11" y="7"/>
                      <a:pt x="11" y="7"/>
                    </a:cubicBezTo>
                    <a:cubicBezTo>
                      <a:pt x="3" y="6"/>
                      <a:pt x="3" y="6"/>
                      <a:pt x="3" y="6"/>
                    </a:cubicBezTo>
                    <a:cubicBezTo>
                      <a:pt x="1" y="6"/>
                      <a:pt x="0" y="5"/>
                      <a:pt x="0" y="3"/>
                    </a:cubicBezTo>
                    <a:cubicBezTo>
                      <a:pt x="0" y="1"/>
                      <a:pt x="1" y="0"/>
                      <a:pt x="3" y="0"/>
                    </a:cubicBezTo>
                    <a:lnTo>
                      <a:pt x="17" y="1"/>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52">
                <a:extLst>
                  <a:ext uri="{FF2B5EF4-FFF2-40B4-BE49-F238E27FC236}">
                    <a16:creationId xmlns:a16="http://schemas.microsoft.com/office/drawing/2014/main" id="{80A2C691-A338-4121-9CC9-4FD62453810A}"/>
                  </a:ext>
                </a:extLst>
              </p:cNvPr>
              <p:cNvSpPr>
                <a:spLocks noEditPoints="1"/>
              </p:cNvSpPr>
              <p:nvPr/>
            </p:nvSpPr>
            <p:spPr bwMode="auto">
              <a:xfrm>
                <a:off x="9043988" y="5470525"/>
                <a:ext cx="887413" cy="508000"/>
              </a:xfrm>
              <a:custGeom>
                <a:avLst/>
                <a:gdLst>
                  <a:gd name="T0" fmla="*/ 4 w 280"/>
                  <a:gd name="T1" fmla="*/ 152 h 160"/>
                  <a:gd name="T2" fmla="*/ 6 w 280"/>
                  <a:gd name="T3" fmla="*/ 160 h 160"/>
                  <a:gd name="T4" fmla="*/ 1 w 280"/>
                  <a:gd name="T5" fmla="*/ 157 h 160"/>
                  <a:gd name="T6" fmla="*/ 26 w 280"/>
                  <a:gd name="T7" fmla="*/ 144 h 160"/>
                  <a:gd name="T8" fmla="*/ 29 w 280"/>
                  <a:gd name="T9" fmla="*/ 152 h 160"/>
                  <a:gd name="T10" fmla="*/ 24 w 280"/>
                  <a:gd name="T11" fmla="*/ 150 h 160"/>
                  <a:gd name="T12" fmla="*/ 46 w 280"/>
                  <a:gd name="T13" fmla="*/ 141 h 160"/>
                  <a:gd name="T14" fmla="*/ 54 w 280"/>
                  <a:gd name="T15" fmla="*/ 138 h 160"/>
                  <a:gd name="T16" fmla="*/ 47 w 280"/>
                  <a:gd name="T17" fmla="*/ 142 h 160"/>
                  <a:gd name="T18" fmla="*/ 69 w 280"/>
                  <a:gd name="T19" fmla="*/ 132 h 160"/>
                  <a:gd name="T20" fmla="*/ 76 w 280"/>
                  <a:gd name="T21" fmla="*/ 129 h 160"/>
                  <a:gd name="T22" fmla="*/ 69 w 280"/>
                  <a:gd name="T23" fmla="*/ 133 h 160"/>
                  <a:gd name="T24" fmla="*/ 91 w 280"/>
                  <a:gd name="T25" fmla="*/ 122 h 160"/>
                  <a:gd name="T26" fmla="*/ 98 w 280"/>
                  <a:gd name="T27" fmla="*/ 119 h 160"/>
                  <a:gd name="T28" fmla="*/ 91 w 280"/>
                  <a:gd name="T29" fmla="*/ 123 h 160"/>
                  <a:gd name="T30" fmla="*/ 112 w 280"/>
                  <a:gd name="T31" fmla="*/ 112 h 160"/>
                  <a:gd name="T32" fmla="*/ 119 w 280"/>
                  <a:gd name="T33" fmla="*/ 108 h 160"/>
                  <a:gd name="T34" fmla="*/ 112 w 280"/>
                  <a:gd name="T35" fmla="*/ 112 h 160"/>
                  <a:gd name="T36" fmla="*/ 135 w 280"/>
                  <a:gd name="T37" fmla="*/ 96 h 160"/>
                  <a:gd name="T38" fmla="*/ 139 w 280"/>
                  <a:gd name="T39" fmla="*/ 103 h 160"/>
                  <a:gd name="T40" fmla="*/ 156 w 280"/>
                  <a:gd name="T41" fmla="*/ 84 h 160"/>
                  <a:gd name="T42" fmla="*/ 160 w 280"/>
                  <a:gd name="T43" fmla="*/ 91 h 160"/>
                  <a:gd name="T44" fmla="*/ 156 w 280"/>
                  <a:gd name="T45" fmla="*/ 84 h 160"/>
                  <a:gd name="T46" fmla="*/ 182 w 280"/>
                  <a:gd name="T47" fmla="*/ 73 h 160"/>
                  <a:gd name="T48" fmla="*/ 175 w 280"/>
                  <a:gd name="T49" fmla="*/ 77 h 160"/>
                  <a:gd name="T50" fmla="*/ 176 w 280"/>
                  <a:gd name="T51" fmla="*/ 72 h 160"/>
                  <a:gd name="T52" fmla="*/ 202 w 280"/>
                  <a:gd name="T53" fmla="*/ 60 h 160"/>
                  <a:gd name="T54" fmla="*/ 195 w 280"/>
                  <a:gd name="T55" fmla="*/ 64 h 160"/>
                  <a:gd name="T56" fmla="*/ 197 w 280"/>
                  <a:gd name="T57" fmla="*/ 59 h 160"/>
                  <a:gd name="T58" fmla="*/ 222 w 280"/>
                  <a:gd name="T59" fmla="*/ 46 h 160"/>
                  <a:gd name="T60" fmla="*/ 215 w 280"/>
                  <a:gd name="T61" fmla="*/ 51 h 160"/>
                  <a:gd name="T62" fmla="*/ 216 w 280"/>
                  <a:gd name="T63" fmla="*/ 45 h 160"/>
                  <a:gd name="T64" fmla="*/ 236 w 280"/>
                  <a:gd name="T65" fmla="*/ 31 h 160"/>
                  <a:gd name="T66" fmla="*/ 240 w 280"/>
                  <a:gd name="T67" fmla="*/ 38 h 160"/>
                  <a:gd name="T68" fmla="*/ 234 w 280"/>
                  <a:gd name="T69" fmla="*/ 36 h 160"/>
                  <a:gd name="T70" fmla="*/ 254 w 280"/>
                  <a:gd name="T71" fmla="*/ 17 h 160"/>
                  <a:gd name="T72" fmla="*/ 259 w 280"/>
                  <a:gd name="T73" fmla="*/ 23 h 160"/>
                  <a:gd name="T74" fmla="*/ 253 w 280"/>
                  <a:gd name="T75" fmla="*/ 22 h 160"/>
                  <a:gd name="T76" fmla="*/ 273 w 280"/>
                  <a:gd name="T77" fmla="*/ 1 h 160"/>
                  <a:gd name="T78" fmla="*/ 278 w 280"/>
                  <a:gd name="T79" fmla="*/ 7 h 160"/>
                  <a:gd name="T80" fmla="*/ 272 w 280"/>
                  <a:gd name="T81" fmla="*/ 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 h="160">
                    <a:moveTo>
                      <a:pt x="1" y="157"/>
                    </a:moveTo>
                    <a:cubicBezTo>
                      <a:pt x="0" y="155"/>
                      <a:pt x="2" y="153"/>
                      <a:pt x="4" y="152"/>
                    </a:cubicBezTo>
                    <a:cubicBezTo>
                      <a:pt x="6" y="151"/>
                      <a:pt x="8" y="152"/>
                      <a:pt x="9" y="155"/>
                    </a:cubicBezTo>
                    <a:cubicBezTo>
                      <a:pt x="9" y="157"/>
                      <a:pt x="8" y="159"/>
                      <a:pt x="6" y="160"/>
                    </a:cubicBezTo>
                    <a:cubicBezTo>
                      <a:pt x="4" y="160"/>
                      <a:pt x="2" y="159"/>
                      <a:pt x="1" y="158"/>
                    </a:cubicBezTo>
                    <a:lnTo>
                      <a:pt x="1" y="157"/>
                    </a:lnTo>
                    <a:close/>
                    <a:moveTo>
                      <a:pt x="24" y="149"/>
                    </a:moveTo>
                    <a:cubicBezTo>
                      <a:pt x="23" y="147"/>
                      <a:pt x="24" y="145"/>
                      <a:pt x="26" y="144"/>
                    </a:cubicBezTo>
                    <a:cubicBezTo>
                      <a:pt x="28" y="144"/>
                      <a:pt x="31" y="145"/>
                      <a:pt x="31" y="147"/>
                    </a:cubicBezTo>
                    <a:cubicBezTo>
                      <a:pt x="32" y="149"/>
                      <a:pt x="31" y="151"/>
                      <a:pt x="29" y="152"/>
                    </a:cubicBezTo>
                    <a:cubicBezTo>
                      <a:pt x="29" y="152"/>
                      <a:pt x="29" y="152"/>
                      <a:pt x="29" y="152"/>
                    </a:cubicBezTo>
                    <a:cubicBezTo>
                      <a:pt x="27" y="152"/>
                      <a:pt x="25" y="152"/>
                      <a:pt x="24" y="150"/>
                    </a:cubicBezTo>
                    <a:lnTo>
                      <a:pt x="24" y="149"/>
                    </a:lnTo>
                    <a:close/>
                    <a:moveTo>
                      <a:pt x="46" y="141"/>
                    </a:moveTo>
                    <a:cubicBezTo>
                      <a:pt x="45" y="139"/>
                      <a:pt x="47" y="137"/>
                      <a:pt x="49" y="136"/>
                    </a:cubicBezTo>
                    <a:cubicBezTo>
                      <a:pt x="51" y="135"/>
                      <a:pt x="53" y="136"/>
                      <a:pt x="54" y="138"/>
                    </a:cubicBezTo>
                    <a:cubicBezTo>
                      <a:pt x="55" y="140"/>
                      <a:pt x="54" y="143"/>
                      <a:pt x="51" y="143"/>
                    </a:cubicBezTo>
                    <a:cubicBezTo>
                      <a:pt x="50" y="144"/>
                      <a:pt x="48" y="143"/>
                      <a:pt x="47" y="142"/>
                    </a:cubicBezTo>
                    <a:lnTo>
                      <a:pt x="46" y="141"/>
                    </a:lnTo>
                    <a:close/>
                    <a:moveTo>
                      <a:pt x="69" y="132"/>
                    </a:moveTo>
                    <a:cubicBezTo>
                      <a:pt x="68" y="130"/>
                      <a:pt x="69" y="128"/>
                      <a:pt x="71" y="127"/>
                    </a:cubicBezTo>
                    <a:cubicBezTo>
                      <a:pt x="73" y="126"/>
                      <a:pt x="75" y="127"/>
                      <a:pt x="76" y="129"/>
                    </a:cubicBezTo>
                    <a:cubicBezTo>
                      <a:pt x="77" y="131"/>
                      <a:pt x="76" y="133"/>
                      <a:pt x="74" y="134"/>
                    </a:cubicBezTo>
                    <a:cubicBezTo>
                      <a:pt x="72" y="135"/>
                      <a:pt x="70" y="134"/>
                      <a:pt x="69" y="133"/>
                    </a:cubicBezTo>
                    <a:lnTo>
                      <a:pt x="69" y="132"/>
                    </a:lnTo>
                    <a:close/>
                    <a:moveTo>
                      <a:pt x="91" y="122"/>
                    </a:moveTo>
                    <a:cubicBezTo>
                      <a:pt x="90" y="120"/>
                      <a:pt x="90" y="118"/>
                      <a:pt x="92" y="117"/>
                    </a:cubicBezTo>
                    <a:cubicBezTo>
                      <a:pt x="94" y="116"/>
                      <a:pt x="97" y="117"/>
                      <a:pt x="98" y="119"/>
                    </a:cubicBezTo>
                    <a:cubicBezTo>
                      <a:pt x="99" y="121"/>
                      <a:pt x="98" y="123"/>
                      <a:pt x="96" y="124"/>
                    </a:cubicBezTo>
                    <a:cubicBezTo>
                      <a:pt x="94" y="125"/>
                      <a:pt x="92" y="125"/>
                      <a:pt x="91" y="123"/>
                    </a:cubicBezTo>
                    <a:lnTo>
                      <a:pt x="91" y="122"/>
                    </a:lnTo>
                    <a:close/>
                    <a:moveTo>
                      <a:pt x="112" y="112"/>
                    </a:moveTo>
                    <a:cubicBezTo>
                      <a:pt x="111" y="110"/>
                      <a:pt x="112" y="108"/>
                      <a:pt x="114" y="107"/>
                    </a:cubicBezTo>
                    <a:cubicBezTo>
                      <a:pt x="116" y="106"/>
                      <a:pt x="118" y="106"/>
                      <a:pt x="119" y="108"/>
                    </a:cubicBezTo>
                    <a:cubicBezTo>
                      <a:pt x="120" y="110"/>
                      <a:pt x="120" y="113"/>
                      <a:pt x="118" y="114"/>
                    </a:cubicBezTo>
                    <a:cubicBezTo>
                      <a:pt x="116" y="115"/>
                      <a:pt x="113" y="114"/>
                      <a:pt x="112" y="112"/>
                    </a:cubicBezTo>
                    <a:close/>
                    <a:moveTo>
                      <a:pt x="134" y="101"/>
                    </a:moveTo>
                    <a:cubicBezTo>
                      <a:pt x="132" y="99"/>
                      <a:pt x="133" y="97"/>
                      <a:pt x="135" y="96"/>
                    </a:cubicBezTo>
                    <a:cubicBezTo>
                      <a:pt x="137" y="95"/>
                      <a:pt x="140" y="95"/>
                      <a:pt x="141" y="97"/>
                    </a:cubicBezTo>
                    <a:cubicBezTo>
                      <a:pt x="142" y="99"/>
                      <a:pt x="141" y="102"/>
                      <a:pt x="139" y="103"/>
                    </a:cubicBezTo>
                    <a:cubicBezTo>
                      <a:pt x="137" y="104"/>
                      <a:pt x="135" y="103"/>
                      <a:pt x="134" y="101"/>
                    </a:cubicBezTo>
                    <a:close/>
                    <a:moveTo>
                      <a:pt x="156" y="84"/>
                    </a:moveTo>
                    <a:cubicBezTo>
                      <a:pt x="158" y="83"/>
                      <a:pt x="160" y="84"/>
                      <a:pt x="161" y="85"/>
                    </a:cubicBezTo>
                    <a:cubicBezTo>
                      <a:pt x="163" y="87"/>
                      <a:pt x="162" y="90"/>
                      <a:pt x="160" y="91"/>
                    </a:cubicBezTo>
                    <a:cubicBezTo>
                      <a:pt x="158" y="92"/>
                      <a:pt x="156" y="91"/>
                      <a:pt x="154" y="89"/>
                    </a:cubicBezTo>
                    <a:cubicBezTo>
                      <a:pt x="153" y="88"/>
                      <a:pt x="154" y="85"/>
                      <a:pt x="156" y="84"/>
                    </a:cubicBezTo>
                    <a:close/>
                    <a:moveTo>
                      <a:pt x="176" y="72"/>
                    </a:moveTo>
                    <a:cubicBezTo>
                      <a:pt x="178" y="71"/>
                      <a:pt x="181" y="71"/>
                      <a:pt x="182" y="73"/>
                    </a:cubicBezTo>
                    <a:cubicBezTo>
                      <a:pt x="183" y="75"/>
                      <a:pt x="183" y="77"/>
                      <a:pt x="181" y="78"/>
                    </a:cubicBezTo>
                    <a:cubicBezTo>
                      <a:pt x="179" y="80"/>
                      <a:pt x="176" y="79"/>
                      <a:pt x="175" y="77"/>
                    </a:cubicBezTo>
                    <a:cubicBezTo>
                      <a:pt x="175" y="77"/>
                      <a:pt x="175" y="77"/>
                      <a:pt x="175" y="77"/>
                    </a:cubicBezTo>
                    <a:cubicBezTo>
                      <a:pt x="174" y="75"/>
                      <a:pt x="175" y="73"/>
                      <a:pt x="176" y="72"/>
                    </a:cubicBezTo>
                    <a:close/>
                    <a:moveTo>
                      <a:pt x="197" y="59"/>
                    </a:moveTo>
                    <a:cubicBezTo>
                      <a:pt x="198" y="58"/>
                      <a:pt x="201" y="58"/>
                      <a:pt x="202" y="60"/>
                    </a:cubicBezTo>
                    <a:cubicBezTo>
                      <a:pt x="203" y="62"/>
                      <a:pt x="203" y="64"/>
                      <a:pt x="201" y="66"/>
                    </a:cubicBezTo>
                    <a:cubicBezTo>
                      <a:pt x="199" y="67"/>
                      <a:pt x="197" y="66"/>
                      <a:pt x="195" y="64"/>
                    </a:cubicBezTo>
                    <a:cubicBezTo>
                      <a:pt x="195" y="64"/>
                      <a:pt x="195" y="64"/>
                      <a:pt x="195" y="64"/>
                    </a:cubicBezTo>
                    <a:cubicBezTo>
                      <a:pt x="194" y="62"/>
                      <a:pt x="195" y="60"/>
                      <a:pt x="197" y="59"/>
                    </a:cubicBezTo>
                    <a:close/>
                    <a:moveTo>
                      <a:pt x="216" y="45"/>
                    </a:moveTo>
                    <a:cubicBezTo>
                      <a:pt x="218" y="44"/>
                      <a:pt x="221" y="45"/>
                      <a:pt x="222" y="46"/>
                    </a:cubicBezTo>
                    <a:cubicBezTo>
                      <a:pt x="223" y="48"/>
                      <a:pt x="223" y="51"/>
                      <a:pt x="221" y="52"/>
                    </a:cubicBezTo>
                    <a:cubicBezTo>
                      <a:pt x="219" y="53"/>
                      <a:pt x="217" y="53"/>
                      <a:pt x="215" y="51"/>
                    </a:cubicBezTo>
                    <a:cubicBezTo>
                      <a:pt x="215" y="51"/>
                      <a:pt x="215" y="51"/>
                      <a:pt x="215" y="51"/>
                    </a:cubicBezTo>
                    <a:cubicBezTo>
                      <a:pt x="214" y="49"/>
                      <a:pt x="215" y="47"/>
                      <a:pt x="216" y="45"/>
                    </a:cubicBezTo>
                    <a:close/>
                    <a:moveTo>
                      <a:pt x="236" y="31"/>
                    </a:moveTo>
                    <a:cubicBezTo>
                      <a:pt x="236" y="31"/>
                      <a:pt x="236" y="31"/>
                      <a:pt x="236" y="31"/>
                    </a:cubicBezTo>
                    <a:cubicBezTo>
                      <a:pt x="237" y="30"/>
                      <a:pt x="240" y="30"/>
                      <a:pt x="241" y="32"/>
                    </a:cubicBezTo>
                    <a:cubicBezTo>
                      <a:pt x="242" y="34"/>
                      <a:pt x="242" y="36"/>
                      <a:pt x="240" y="38"/>
                    </a:cubicBezTo>
                    <a:cubicBezTo>
                      <a:pt x="239" y="39"/>
                      <a:pt x="236" y="39"/>
                      <a:pt x="235" y="37"/>
                    </a:cubicBezTo>
                    <a:cubicBezTo>
                      <a:pt x="234" y="36"/>
                      <a:pt x="234" y="36"/>
                      <a:pt x="234" y="36"/>
                    </a:cubicBezTo>
                    <a:cubicBezTo>
                      <a:pt x="233" y="35"/>
                      <a:pt x="234" y="33"/>
                      <a:pt x="236" y="31"/>
                    </a:cubicBezTo>
                    <a:close/>
                    <a:moveTo>
                      <a:pt x="254" y="17"/>
                    </a:moveTo>
                    <a:cubicBezTo>
                      <a:pt x="256" y="15"/>
                      <a:pt x="259" y="16"/>
                      <a:pt x="260" y="17"/>
                    </a:cubicBezTo>
                    <a:cubicBezTo>
                      <a:pt x="261" y="19"/>
                      <a:pt x="261" y="21"/>
                      <a:pt x="259" y="23"/>
                    </a:cubicBezTo>
                    <a:cubicBezTo>
                      <a:pt x="258" y="24"/>
                      <a:pt x="255" y="24"/>
                      <a:pt x="254" y="22"/>
                    </a:cubicBezTo>
                    <a:cubicBezTo>
                      <a:pt x="253" y="22"/>
                      <a:pt x="253" y="22"/>
                      <a:pt x="253" y="22"/>
                    </a:cubicBezTo>
                    <a:cubicBezTo>
                      <a:pt x="252" y="20"/>
                      <a:pt x="253" y="18"/>
                      <a:pt x="254" y="17"/>
                    </a:cubicBezTo>
                    <a:close/>
                    <a:moveTo>
                      <a:pt x="273" y="1"/>
                    </a:moveTo>
                    <a:cubicBezTo>
                      <a:pt x="274" y="0"/>
                      <a:pt x="277" y="0"/>
                      <a:pt x="278" y="2"/>
                    </a:cubicBezTo>
                    <a:cubicBezTo>
                      <a:pt x="280" y="4"/>
                      <a:pt x="280" y="6"/>
                      <a:pt x="278" y="7"/>
                    </a:cubicBezTo>
                    <a:cubicBezTo>
                      <a:pt x="276" y="9"/>
                      <a:pt x="274" y="9"/>
                      <a:pt x="272" y="7"/>
                    </a:cubicBezTo>
                    <a:cubicBezTo>
                      <a:pt x="272" y="6"/>
                      <a:pt x="272" y="6"/>
                      <a:pt x="272" y="6"/>
                    </a:cubicBezTo>
                    <a:cubicBezTo>
                      <a:pt x="271" y="5"/>
                      <a:pt x="271" y="3"/>
                      <a:pt x="273" y="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F23C9818-3D3C-401E-86D9-8EBE81C95782}"/>
                </a:ext>
                <a:ext uri="{C183D7F6-B498-43B3-948B-1728B52AA6E4}">
                  <adec:decorative xmlns:adec="http://schemas.microsoft.com/office/drawing/2017/decorative" val="1"/>
                </a:ext>
              </a:extLst>
            </p:cNvPr>
            <p:cNvGrpSpPr/>
            <p:nvPr/>
          </p:nvGrpSpPr>
          <p:grpSpPr>
            <a:xfrm>
              <a:off x="9474854" y="5311573"/>
              <a:ext cx="804604" cy="480894"/>
              <a:chOff x="9031288" y="5380038"/>
              <a:chExt cx="820738" cy="490537"/>
            </a:xfrm>
          </p:grpSpPr>
          <p:sp>
            <p:nvSpPr>
              <p:cNvPr id="69" name="Freeform 51">
                <a:extLst>
                  <a:ext uri="{FF2B5EF4-FFF2-40B4-BE49-F238E27FC236}">
                    <a16:creationId xmlns:a16="http://schemas.microsoft.com/office/drawing/2014/main" id="{9555AFA6-3A00-4615-B418-821EA36EBFF3}"/>
                  </a:ext>
                </a:extLst>
              </p:cNvPr>
              <p:cNvSpPr>
                <a:spLocks noEditPoints="1"/>
              </p:cNvSpPr>
              <p:nvPr/>
            </p:nvSpPr>
            <p:spPr bwMode="auto">
              <a:xfrm>
                <a:off x="9104313" y="5380038"/>
                <a:ext cx="747713" cy="452438"/>
              </a:xfrm>
              <a:custGeom>
                <a:avLst/>
                <a:gdLst>
                  <a:gd name="T0" fmla="*/ 3 w 236"/>
                  <a:gd name="T1" fmla="*/ 133 h 142"/>
                  <a:gd name="T2" fmla="*/ 6 w 236"/>
                  <a:gd name="T3" fmla="*/ 141 h 142"/>
                  <a:gd name="T4" fmla="*/ 23 w 236"/>
                  <a:gd name="T5" fmla="*/ 130 h 142"/>
                  <a:gd name="T6" fmla="*/ 25 w 236"/>
                  <a:gd name="T7" fmla="*/ 125 h 142"/>
                  <a:gd name="T8" fmla="*/ 28 w 236"/>
                  <a:gd name="T9" fmla="*/ 132 h 142"/>
                  <a:gd name="T10" fmla="*/ 45 w 236"/>
                  <a:gd name="T11" fmla="*/ 121 h 142"/>
                  <a:gd name="T12" fmla="*/ 53 w 236"/>
                  <a:gd name="T13" fmla="*/ 117 h 142"/>
                  <a:gd name="T14" fmla="*/ 46 w 236"/>
                  <a:gd name="T15" fmla="*/ 121 h 142"/>
                  <a:gd name="T16" fmla="*/ 67 w 236"/>
                  <a:gd name="T17" fmla="*/ 110 h 142"/>
                  <a:gd name="T18" fmla="*/ 74 w 236"/>
                  <a:gd name="T19" fmla="*/ 107 h 142"/>
                  <a:gd name="T20" fmla="*/ 67 w 236"/>
                  <a:gd name="T21" fmla="*/ 111 h 142"/>
                  <a:gd name="T22" fmla="*/ 89 w 236"/>
                  <a:gd name="T23" fmla="*/ 100 h 142"/>
                  <a:gd name="T24" fmla="*/ 96 w 236"/>
                  <a:gd name="T25" fmla="*/ 96 h 142"/>
                  <a:gd name="T26" fmla="*/ 89 w 236"/>
                  <a:gd name="T27" fmla="*/ 100 h 142"/>
                  <a:gd name="T28" fmla="*/ 111 w 236"/>
                  <a:gd name="T29" fmla="*/ 83 h 142"/>
                  <a:gd name="T30" fmla="*/ 115 w 236"/>
                  <a:gd name="T31" fmla="*/ 90 h 142"/>
                  <a:gd name="T32" fmla="*/ 110 w 236"/>
                  <a:gd name="T33" fmla="*/ 88 h 142"/>
                  <a:gd name="T34" fmla="*/ 137 w 236"/>
                  <a:gd name="T35" fmla="*/ 72 h 142"/>
                  <a:gd name="T36" fmla="*/ 130 w 236"/>
                  <a:gd name="T37" fmla="*/ 76 h 142"/>
                  <a:gd name="T38" fmla="*/ 132 w 236"/>
                  <a:gd name="T39" fmla="*/ 71 h 142"/>
                  <a:gd name="T40" fmla="*/ 158 w 236"/>
                  <a:gd name="T41" fmla="*/ 59 h 142"/>
                  <a:gd name="T42" fmla="*/ 151 w 236"/>
                  <a:gd name="T43" fmla="*/ 64 h 142"/>
                  <a:gd name="T44" fmla="*/ 152 w 236"/>
                  <a:gd name="T45" fmla="*/ 58 h 142"/>
                  <a:gd name="T46" fmla="*/ 177 w 236"/>
                  <a:gd name="T47" fmla="*/ 46 h 142"/>
                  <a:gd name="T48" fmla="*/ 171 w 236"/>
                  <a:gd name="T49" fmla="*/ 50 h 142"/>
                  <a:gd name="T50" fmla="*/ 172 w 236"/>
                  <a:gd name="T51" fmla="*/ 45 h 142"/>
                  <a:gd name="T52" fmla="*/ 197 w 236"/>
                  <a:gd name="T53" fmla="*/ 32 h 142"/>
                  <a:gd name="T54" fmla="*/ 190 w 236"/>
                  <a:gd name="T55" fmla="*/ 36 h 142"/>
                  <a:gd name="T56" fmla="*/ 191 w 236"/>
                  <a:gd name="T57" fmla="*/ 31 h 142"/>
                  <a:gd name="T58" fmla="*/ 210 w 236"/>
                  <a:gd name="T59" fmla="*/ 16 h 142"/>
                  <a:gd name="T60" fmla="*/ 215 w 236"/>
                  <a:gd name="T61" fmla="*/ 22 h 142"/>
                  <a:gd name="T62" fmla="*/ 209 w 236"/>
                  <a:gd name="T63" fmla="*/ 21 h 142"/>
                  <a:gd name="T64" fmla="*/ 229 w 236"/>
                  <a:gd name="T65" fmla="*/ 1 h 142"/>
                  <a:gd name="T66" fmla="*/ 234 w 236"/>
                  <a:gd name="T67" fmla="*/ 7 h 142"/>
                  <a:gd name="T68" fmla="*/ 228 w 236"/>
                  <a:gd name="T69"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142">
                    <a:moveTo>
                      <a:pt x="1" y="139"/>
                    </a:moveTo>
                    <a:cubicBezTo>
                      <a:pt x="0" y="136"/>
                      <a:pt x="1" y="134"/>
                      <a:pt x="3" y="133"/>
                    </a:cubicBezTo>
                    <a:cubicBezTo>
                      <a:pt x="5" y="133"/>
                      <a:pt x="8" y="134"/>
                      <a:pt x="8" y="136"/>
                    </a:cubicBezTo>
                    <a:cubicBezTo>
                      <a:pt x="9" y="138"/>
                      <a:pt x="8" y="140"/>
                      <a:pt x="6" y="141"/>
                    </a:cubicBezTo>
                    <a:cubicBezTo>
                      <a:pt x="4" y="142"/>
                      <a:pt x="2" y="141"/>
                      <a:pt x="1" y="139"/>
                    </a:cubicBezTo>
                    <a:close/>
                    <a:moveTo>
                      <a:pt x="23" y="130"/>
                    </a:moveTo>
                    <a:cubicBezTo>
                      <a:pt x="22" y="128"/>
                      <a:pt x="23" y="126"/>
                      <a:pt x="25" y="125"/>
                    </a:cubicBezTo>
                    <a:cubicBezTo>
                      <a:pt x="25" y="125"/>
                      <a:pt x="25" y="125"/>
                      <a:pt x="25" y="125"/>
                    </a:cubicBezTo>
                    <a:cubicBezTo>
                      <a:pt x="27" y="124"/>
                      <a:pt x="30" y="125"/>
                      <a:pt x="31" y="127"/>
                    </a:cubicBezTo>
                    <a:cubicBezTo>
                      <a:pt x="31" y="129"/>
                      <a:pt x="30" y="131"/>
                      <a:pt x="28" y="132"/>
                    </a:cubicBezTo>
                    <a:cubicBezTo>
                      <a:pt x="27" y="133"/>
                      <a:pt x="24" y="132"/>
                      <a:pt x="23" y="130"/>
                    </a:cubicBezTo>
                    <a:close/>
                    <a:moveTo>
                      <a:pt x="45" y="121"/>
                    </a:moveTo>
                    <a:cubicBezTo>
                      <a:pt x="44" y="119"/>
                      <a:pt x="45" y="116"/>
                      <a:pt x="47" y="115"/>
                    </a:cubicBezTo>
                    <a:cubicBezTo>
                      <a:pt x="49" y="114"/>
                      <a:pt x="52" y="115"/>
                      <a:pt x="53" y="117"/>
                    </a:cubicBezTo>
                    <a:cubicBezTo>
                      <a:pt x="54" y="119"/>
                      <a:pt x="53" y="122"/>
                      <a:pt x="51" y="123"/>
                    </a:cubicBezTo>
                    <a:cubicBezTo>
                      <a:pt x="49" y="123"/>
                      <a:pt x="47" y="123"/>
                      <a:pt x="46" y="121"/>
                    </a:cubicBezTo>
                    <a:lnTo>
                      <a:pt x="45" y="121"/>
                    </a:lnTo>
                    <a:close/>
                    <a:moveTo>
                      <a:pt x="67" y="110"/>
                    </a:moveTo>
                    <a:cubicBezTo>
                      <a:pt x="66" y="109"/>
                      <a:pt x="67" y="106"/>
                      <a:pt x="69" y="105"/>
                    </a:cubicBezTo>
                    <a:cubicBezTo>
                      <a:pt x="71" y="104"/>
                      <a:pt x="73" y="105"/>
                      <a:pt x="74" y="107"/>
                    </a:cubicBezTo>
                    <a:cubicBezTo>
                      <a:pt x="75" y="109"/>
                      <a:pt x="74" y="111"/>
                      <a:pt x="72" y="112"/>
                    </a:cubicBezTo>
                    <a:cubicBezTo>
                      <a:pt x="71" y="113"/>
                      <a:pt x="68" y="113"/>
                      <a:pt x="67" y="111"/>
                    </a:cubicBezTo>
                    <a:lnTo>
                      <a:pt x="67" y="110"/>
                    </a:lnTo>
                    <a:close/>
                    <a:moveTo>
                      <a:pt x="89" y="100"/>
                    </a:moveTo>
                    <a:cubicBezTo>
                      <a:pt x="88" y="98"/>
                      <a:pt x="88" y="95"/>
                      <a:pt x="90" y="94"/>
                    </a:cubicBezTo>
                    <a:cubicBezTo>
                      <a:pt x="92" y="93"/>
                      <a:pt x="95" y="94"/>
                      <a:pt x="96" y="96"/>
                    </a:cubicBezTo>
                    <a:cubicBezTo>
                      <a:pt x="97" y="98"/>
                      <a:pt x="96" y="100"/>
                      <a:pt x="94" y="101"/>
                    </a:cubicBezTo>
                    <a:cubicBezTo>
                      <a:pt x="92" y="102"/>
                      <a:pt x="90" y="102"/>
                      <a:pt x="89" y="100"/>
                    </a:cubicBezTo>
                    <a:close/>
                    <a:moveTo>
                      <a:pt x="110" y="88"/>
                    </a:moveTo>
                    <a:cubicBezTo>
                      <a:pt x="109" y="86"/>
                      <a:pt x="109" y="84"/>
                      <a:pt x="111" y="83"/>
                    </a:cubicBezTo>
                    <a:cubicBezTo>
                      <a:pt x="113" y="82"/>
                      <a:pt x="116" y="83"/>
                      <a:pt x="117" y="84"/>
                    </a:cubicBezTo>
                    <a:cubicBezTo>
                      <a:pt x="118" y="86"/>
                      <a:pt x="117" y="89"/>
                      <a:pt x="115" y="90"/>
                    </a:cubicBezTo>
                    <a:cubicBezTo>
                      <a:pt x="115" y="90"/>
                      <a:pt x="115" y="90"/>
                      <a:pt x="115" y="90"/>
                    </a:cubicBezTo>
                    <a:cubicBezTo>
                      <a:pt x="113" y="91"/>
                      <a:pt x="111" y="90"/>
                      <a:pt x="110" y="88"/>
                    </a:cubicBezTo>
                    <a:close/>
                    <a:moveTo>
                      <a:pt x="132" y="71"/>
                    </a:moveTo>
                    <a:cubicBezTo>
                      <a:pt x="134" y="70"/>
                      <a:pt x="136" y="70"/>
                      <a:pt x="137" y="72"/>
                    </a:cubicBezTo>
                    <a:cubicBezTo>
                      <a:pt x="138" y="74"/>
                      <a:pt x="138" y="77"/>
                      <a:pt x="136" y="78"/>
                    </a:cubicBezTo>
                    <a:cubicBezTo>
                      <a:pt x="134" y="79"/>
                      <a:pt x="132" y="78"/>
                      <a:pt x="130" y="76"/>
                    </a:cubicBezTo>
                    <a:cubicBezTo>
                      <a:pt x="130" y="76"/>
                      <a:pt x="130" y="76"/>
                      <a:pt x="130" y="76"/>
                    </a:cubicBezTo>
                    <a:cubicBezTo>
                      <a:pt x="129" y="74"/>
                      <a:pt x="130" y="72"/>
                      <a:pt x="132" y="71"/>
                    </a:cubicBezTo>
                    <a:close/>
                    <a:moveTo>
                      <a:pt x="152" y="58"/>
                    </a:moveTo>
                    <a:cubicBezTo>
                      <a:pt x="154" y="57"/>
                      <a:pt x="156" y="57"/>
                      <a:pt x="158" y="59"/>
                    </a:cubicBezTo>
                    <a:cubicBezTo>
                      <a:pt x="159" y="61"/>
                      <a:pt x="158" y="64"/>
                      <a:pt x="156" y="65"/>
                    </a:cubicBezTo>
                    <a:cubicBezTo>
                      <a:pt x="155" y="66"/>
                      <a:pt x="152" y="66"/>
                      <a:pt x="151" y="64"/>
                    </a:cubicBezTo>
                    <a:cubicBezTo>
                      <a:pt x="151" y="64"/>
                      <a:pt x="151" y="64"/>
                      <a:pt x="151" y="64"/>
                    </a:cubicBezTo>
                    <a:cubicBezTo>
                      <a:pt x="150" y="62"/>
                      <a:pt x="150" y="59"/>
                      <a:pt x="152" y="58"/>
                    </a:cubicBezTo>
                    <a:close/>
                    <a:moveTo>
                      <a:pt x="172" y="45"/>
                    </a:moveTo>
                    <a:cubicBezTo>
                      <a:pt x="174" y="44"/>
                      <a:pt x="176" y="44"/>
                      <a:pt x="177" y="46"/>
                    </a:cubicBezTo>
                    <a:cubicBezTo>
                      <a:pt x="179" y="48"/>
                      <a:pt x="178" y="50"/>
                      <a:pt x="176" y="51"/>
                    </a:cubicBezTo>
                    <a:cubicBezTo>
                      <a:pt x="175" y="53"/>
                      <a:pt x="172" y="52"/>
                      <a:pt x="171" y="50"/>
                    </a:cubicBezTo>
                    <a:cubicBezTo>
                      <a:pt x="171" y="50"/>
                      <a:pt x="171" y="50"/>
                      <a:pt x="171" y="50"/>
                    </a:cubicBezTo>
                    <a:cubicBezTo>
                      <a:pt x="170" y="48"/>
                      <a:pt x="170" y="46"/>
                      <a:pt x="172" y="45"/>
                    </a:cubicBezTo>
                    <a:close/>
                    <a:moveTo>
                      <a:pt x="191" y="31"/>
                    </a:moveTo>
                    <a:cubicBezTo>
                      <a:pt x="193" y="30"/>
                      <a:pt x="195" y="30"/>
                      <a:pt x="197" y="32"/>
                    </a:cubicBezTo>
                    <a:cubicBezTo>
                      <a:pt x="198" y="33"/>
                      <a:pt x="198" y="36"/>
                      <a:pt x="196" y="37"/>
                    </a:cubicBezTo>
                    <a:cubicBezTo>
                      <a:pt x="194" y="39"/>
                      <a:pt x="192" y="38"/>
                      <a:pt x="190" y="36"/>
                    </a:cubicBezTo>
                    <a:cubicBezTo>
                      <a:pt x="190" y="36"/>
                      <a:pt x="190" y="36"/>
                      <a:pt x="190" y="36"/>
                    </a:cubicBezTo>
                    <a:cubicBezTo>
                      <a:pt x="189" y="34"/>
                      <a:pt x="190" y="32"/>
                      <a:pt x="191" y="31"/>
                    </a:cubicBezTo>
                    <a:close/>
                    <a:moveTo>
                      <a:pt x="210" y="16"/>
                    </a:moveTo>
                    <a:cubicBezTo>
                      <a:pt x="210" y="16"/>
                      <a:pt x="210" y="16"/>
                      <a:pt x="210" y="16"/>
                    </a:cubicBezTo>
                    <a:cubicBezTo>
                      <a:pt x="212" y="15"/>
                      <a:pt x="214" y="15"/>
                      <a:pt x="216" y="17"/>
                    </a:cubicBezTo>
                    <a:cubicBezTo>
                      <a:pt x="217" y="19"/>
                      <a:pt x="217" y="21"/>
                      <a:pt x="215" y="22"/>
                    </a:cubicBezTo>
                    <a:cubicBezTo>
                      <a:pt x="213" y="24"/>
                      <a:pt x="211" y="24"/>
                      <a:pt x="209" y="22"/>
                    </a:cubicBezTo>
                    <a:cubicBezTo>
                      <a:pt x="209" y="21"/>
                      <a:pt x="209" y="21"/>
                      <a:pt x="209" y="21"/>
                    </a:cubicBezTo>
                    <a:cubicBezTo>
                      <a:pt x="208" y="20"/>
                      <a:pt x="209" y="18"/>
                      <a:pt x="210" y="16"/>
                    </a:cubicBezTo>
                    <a:close/>
                    <a:moveTo>
                      <a:pt x="229" y="1"/>
                    </a:moveTo>
                    <a:cubicBezTo>
                      <a:pt x="230" y="0"/>
                      <a:pt x="233" y="0"/>
                      <a:pt x="234" y="2"/>
                    </a:cubicBezTo>
                    <a:cubicBezTo>
                      <a:pt x="236" y="3"/>
                      <a:pt x="235" y="6"/>
                      <a:pt x="234" y="7"/>
                    </a:cubicBezTo>
                    <a:cubicBezTo>
                      <a:pt x="232" y="9"/>
                      <a:pt x="229" y="8"/>
                      <a:pt x="228" y="7"/>
                    </a:cubicBezTo>
                    <a:cubicBezTo>
                      <a:pt x="228" y="6"/>
                      <a:pt x="228" y="6"/>
                      <a:pt x="228" y="6"/>
                    </a:cubicBezTo>
                    <a:cubicBezTo>
                      <a:pt x="227" y="4"/>
                      <a:pt x="227" y="2"/>
                      <a:pt x="229" y="1"/>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70" name="Freeform 53">
                <a:extLst>
                  <a:ext uri="{FF2B5EF4-FFF2-40B4-BE49-F238E27FC236}">
                    <a16:creationId xmlns:a16="http://schemas.microsoft.com/office/drawing/2014/main" id="{86D1685D-2BBA-4B87-ADDB-8C1C7579F32D}"/>
                  </a:ext>
                </a:extLst>
              </p:cNvPr>
              <p:cNvSpPr>
                <a:spLocks/>
              </p:cNvSpPr>
              <p:nvPr/>
            </p:nvSpPr>
            <p:spPr bwMode="auto">
              <a:xfrm>
                <a:off x="9031288" y="5800725"/>
                <a:ext cx="53975" cy="69850"/>
              </a:xfrm>
              <a:custGeom>
                <a:avLst/>
                <a:gdLst>
                  <a:gd name="T0" fmla="*/ 0 w 17"/>
                  <a:gd name="T1" fmla="*/ 15 h 22"/>
                  <a:gd name="T2" fmla="*/ 6 w 17"/>
                  <a:gd name="T3" fmla="*/ 2 h 22"/>
                  <a:gd name="T4" fmla="*/ 10 w 17"/>
                  <a:gd name="T5" fmla="*/ 1 h 22"/>
                  <a:gd name="T6" fmla="*/ 11 w 17"/>
                  <a:gd name="T7" fmla="*/ 5 h 22"/>
                  <a:gd name="T8" fmla="*/ 8 w 17"/>
                  <a:gd name="T9" fmla="*/ 12 h 22"/>
                  <a:gd name="T10" fmla="*/ 15 w 17"/>
                  <a:gd name="T11" fmla="*/ 16 h 22"/>
                  <a:gd name="T12" fmla="*/ 17 w 17"/>
                  <a:gd name="T13" fmla="*/ 20 h 22"/>
                  <a:gd name="T14" fmla="*/ 13 w 17"/>
                  <a:gd name="T15" fmla="*/ 21 h 22"/>
                  <a:gd name="T16" fmla="*/ 0 w 17"/>
                  <a:gd name="T1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2">
                    <a:moveTo>
                      <a:pt x="0" y="15"/>
                    </a:moveTo>
                    <a:cubicBezTo>
                      <a:pt x="6" y="2"/>
                      <a:pt x="6" y="2"/>
                      <a:pt x="6" y="2"/>
                    </a:cubicBezTo>
                    <a:cubicBezTo>
                      <a:pt x="7" y="1"/>
                      <a:pt x="8" y="0"/>
                      <a:pt x="10" y="1"/>
                    </a:cubicBezTo>
                    <a:cubicBezTo>
                      <a:pt x="11" y="2"/>
                      <a:pt x="12" y="3"/>
                      <a:pt x="11" y="5"/>
                    </a:cubicBezTo>
                    <a:cubicBezTo>
                      <a:pt x="8" y="12"/>
                      <a:pt x="8" y="12"/>
                      <a:pt x="8" y="12"/>
                    </a:cubicBezTo>
                    <a:cubicBezTo>
                      <a:pt x="15" y="16"/>
                      <a:pt x="15" y="16"/>
                      <a:pt x="15" y="16"/>
                    </a:cubicBezTo>
                    <a:cubicBezTo>
                      <a:pt x="17" y="16"/>
                      <a:pt x="17" y="18"/>
                      <a:pt x="17" y="20"/>
                    </a:cubicBezTo>
                    <a:cubicBezTo>
                      <a:pt x="16" y="21"/>
                      <a:pt x="14" y="22"/>
                      <a:pt x="13" y="21"/>
                    </a:cubicBezTo>
                    <a:lnTo>
                      <a:pt x="0" y="15"/>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8" name="Group 27">
              <a:extLst>
                <a:ext uri="{FF2B5EF4-FFF2-40B4-BE49-F238E27FC236}">
                  <a16:creationId xmlns:a16="http://schemas.microsoft.com/office/drawing/2014/main" id="{1F119801-9C68-4A91-97D7-DF5A556FF4D1}"/>
                </a:ext>
                <a:ext uri="{C183D7F6-B498-43B3-948B-1728B52AA6E4}">
                  <adec:decorative xmlns:adec="http://schemas.microsoft.com/office/drawing/2017/decorative" val="1"/>
                </a:ext>
              </a:extLst>
            </p:cNvPr>
            <p:cNvGrpSpPr/>
            <p:nvPr/>
          </p:nvGrpSpPr>
          <p:grpSpPr>
            <a:xfrm>
              <a:off x="8659357" y="1965543"/>
              <a:ext cx="71589" cy="638080"/>
              <a:chOff x="8199438" y="1966913"/>
              <a:chExt cx="73025" cy="650875"/>
            </a:xfrm>
          </p:grpSpPr>
          <p:sp>
            <p:nvSpPr>
              <p:cNvPr id="67" name="Freeform 54">
                <a:extLst>
                  <a:ext uri="{FF2B5EF4-FFF2-40B4-BE49-F238E27FC236}">
                    <a16:creationId xmlns:a16="http://schemas.microsoft.com/office/drawing/2014/main" id="{48A9971C-323E-40AB-B4CE-A235A323309E}"/>
                  </a:ext>
                </a:extLst>
              </p:cNvPr>
              <p:cNvSpPr>
                <a:spLocks noEditPoints="1"/>
              </p:cNvSpPr>
              <p:nvPr/>
            </p:nvSpPr>
            <p:spPr bwMode="auto">
              <a:xfrm>
                <a:off x="8224838" y="1966913"/>
                <a:ext cx="25400" cy="558800"/>
              </a:xfrm>
              <a:custGeom>
                <a:avLst/>
                <a:gdLst>
                  <a:gd name="T0" fmla="*/ 0 w 8"/>
                  <a:gd name="T1" fmla="*/ 172 h 176"/>
                  <a:gd name="T2" fmla="*/ 4 w 8"/>
                  <a:gd name="T3" fmla="*/ 168 h 176"/>
                  <a:gd name="T4" fmla="*/ 8 w 8"/>
                  <a:gd name="T5" fmla="*/ 172 h 176"/>
                  <a:gd name="T6" fmla="*/ 4 w 8"/>
                  <a:gd name="T7" fmla="*/ 176 h 176"/>
                  <a:gd name="T8" fmla="*/ 0 w 8"/>
                  <a:gd name="T9" fmla="*/ 172 h 176"/>
                  <a:gd name="T10" fmla="*/ 0 w 8"/>
                  <a:gd name="T11" fmla="*/ 148 h 176"/>
                  <a:gd name="T12" fmla="*/ 4 w 8"/>
                  <a:gd name="T13" fmla="*/ 144 h 176"/>
                  <a:gd name="T14" fmla="*/ 8 w 8"/>
                  <a:gd name="T15" fmla="*/ 148 h 176"/>
                  <a:gd name="T16" fmla="*/ 4 w 8"/>
                  <a:gd name="T17" fmla="*/ 152 h 176"/>
                  <a:gd name="T18" fmla="*/ 0 w 8"/>
                  <a:gd name="T19" fmla="*/ 148 h 176"/>
                  <a:gd name="T20" fmla="*/ 0 w 8"/>
                  <a:gd name="T21" fmla="*/ 124 h 176"/>
                  <a:gd name="T22" fmla="*/ 4 w 8"/>
                  <a:gd name="T23" fmla="*/ 120 h 176"/>
                  <a:gd name="T24" fmla="*/ 8 w 8"/>
                  <a:gd name="T25" fmla="*/ 124 h 176"/>
                  <a:gd name="T26" fmla="*/ 4 w 8"/>
                  <a:gd name="T27" fmla="*/ 128 h 176"/>
                  <a:gd name="T28" fmla="*/ 0 w 8"/>
                  <a:gd name="T29" fmla="*/ 124 h 176"/>
                  <a:gd name="T30" fmla="*/ 0 w 8"/>
                  <a:gd name="T31" fmla="*/ 100 h 176"/>
                  <a:gd name="T32" fmla="*/ 4 w 8"/>
                  <a:gd name="T33" fmla="*/ 96 h 176"/>
                  <a:gd name="T34" fmla="*/ 8 w 8"/>
                  <a:gd name="T35" fmla="*/ 100 h 176"/>
                  <a:gd name="T36" fmla="*/ 4 w 8"/>
                  <a:gd name="T37" fmla="*/ 104 h 176"/>
                  <a:gd name="T38" fmla="*/ 0 w 8"/>
                  <a:gd name="T39" fmla="*/ 100 h 176"/>
                  <a:gd name="T40" fmla="*/ 0 w 8"/>
                  <a:gd name="T41" fmla="*/ 76 h 176"/>
                  <a:gd name="T42" fmla="*/ 4 w 8"/>
                  <a:gd name="T43" fmla="*/ 72 h 176"/>
                  <a:gd name="T44" fmla="*/ 8 w 8"/>
                  <a:gd name="T45" fmla="*/ 76 h 176"/>
                  <a:gd name="T46" fmla="*/ 4 w 8"/>
                  <a:gd name="T47" fmla="*/ 80 h 176"/>
                  <a:gd name="T48" fmla="*/ 0 w 8"/>
                  <a:gd name="T49" fmla="*/ 76 h 176"/>
                  <a:gd name="T50" fmla="*/ 0 w 8"/>
                  <a:gd name="T51" fmla="*/ 52 h 176"/>
                  <a:gd name="T52" fmla="*/ 4 w 8"/>
                  <a:gd name="T53" fmla="*/ 48 h 176"/>
                  <a:gd name="T54" fmla="*/ 8 w 8"/>
                  <a:gd name="T55" fmla="*/ 52 h 176"/>
                  <a:gd name="T56" fmla="*/ 4 w 8"/>
                  <a:gd name="T57" fmla="*/ 56 h 176"/>
                  <a:gd name="T58" fmla="*/ 0 w 8"/>
                  <a:gd name="T59" fmla="*/ 52 h 176"/>
                  <a:gd name="T60" fmla="*/ 0 w 8"/>
                  <a:gd name="T61" fmla="*/ 28 h 176"/>
                  <a:gd name="T62" fmla="*/ 4 w 8"/>
                  <a:gd name="T63" fmla="*/ 24 h 176"/>
                  <a:gd name="T64" fmla="*/ 8 w 8"/>
                  <a:gd name="T65" fmla="*/ 28 h 176"/>
                  <a:gd name="T66" fmla="*/ 4 w 8"/>
                  <a:gd name="T67" fmla="*/ 32 h 176"/>
                  <a:gd name="T68" fmla="*/ 0 w 8"/>
                  <a:gd name="T69" fmla="*/ 28 h 176"/>
                  <a:gd name="T70" fmla="*/ 0 w 8"/>
                  <a:gd name="T71" fmla="*/ 4 h 176"/>
                  <a:gd name="T72" fmla="*/ 4 w 8"/>
                  <a:gd name="T73" fmla="*/ 0 h 176"/>
                  <a:gd name="T74" fmla="*/ 8 w 8"/>
                  <a:gd name="T75" fmla="*/ 4 h 176"/>
                  <a:gd name="T76" fmla="*/ 4 w 8"/>
                  <a:gd name="T77" fmla="*/ 8 h 176"/>
                  <a:gd name="T78" fmla="*/ 0 w 8"/>
                  <a:gd name="T79"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 h="176">
                    <a:moveTo>
                      <a:pt x="0" y="172"/>
                    </a:moveTo>
                    <a:cubicBezTo>
                      <a:pt x="0" y="170"/>
                      <a:pt x="1" y="168"/>
                      <a:pt x="4" y="168"/>
                    </a:cubicBezTo>
                    <a:cubicBezTo>
                      <a:pt x="6" y="168"/>
                      <a:pt x="8" y="170"/>
                      <a:pt x="8" y="172"/>
                    </a:cubicBezTo>
                    <a:cubicBezTo>
                      <a:pt x="8" y="174"/>
                      <a:pt x="6" y="176"/>
                      <a:pt x="4" y="176"/>
                    </a:cubicBezTo>
                    <a:cubicBezTo>
                      <a:pt x="1" y="176"/>
                      <a:pt x="0" y="174"/>
                      <a:pt x="0" y="172"/>
                    </a:cubicBezTo>
                    <a:close/>
                    <a:moveTo>
                      <a:pt x="0" y="148"/>
                    </a:moveTo>
                    <a:cubicBezTo>
                      <a:pt x="0" y="146"/>
                      <a:pt x="1" y="144"/>
                      <a:pt x="4" y="144"/>
                    </a:cubicBezTo>
                    <a:cubicBezTo>
                      <a:pt x="6" y="144"/>
                      <a:pt x="8" y="146"/>
                      <a:pt x="8" y="148"/>
                    </a:cubicBezTo>
                    <a:cubicBezTo>
                      <a:pt x="8" y="150"/>
                      <a:pt x="6" y="152"/>
                      <a:pt x="4" y="152"/>
                    </a:cubicBezTo>
                    <a:cubicBezTo>
                      <a:pt x="1" y="152"/>
                      <a:pt x="0" y="150"/>
                      <a:pt x="0" y="148"/>
                    </a:cubicBezTo>
                    <a:close/>
                    <a:moveTo>
                      <a:pt x="0" y="124"/>
                    </a:moveTo>
                    <a:cubicBezTo>
                      <a:pt x="0" y="122"/>
                      <a:pt x="1" y="120"/>
                      <a:pt x="4" y="120"/>
                    </a:cubicBezTo>
                    <a:cubicBezTo>
                      <a:pt x="6" y="120"/>
                      <a:pt x="8" y="122"/>
                      <a:pt x="8" y="124"/>
                    </a:cubicBezTo>
                    <a:cubicBezTo>
                      <a:pt x="8" y="126"/>
                      <a:pt x="6" y="128"/>
                      <a:pt x="4" y="128"/>
                    </a:cubicBezTo>
                    <a:cubicBezTo>
                      <a:pt x="1" y="128"/>
                      <a:pt x="0" y="126"/>
                      <a:pt x="0" y="124"/>
                    </a:cubicBezTo>
                    <a:close/>
                    <a:moveTo>
                      <a:pt x="0" y="100"/>
                    </a:moveTo>
                    <a:cubicBezTo>
                      <a:pt x="0" y="98"/>
                      <a:pt x="1" y="96"/>
                      <a:pt x="4" y="96"/>
                    </a:cubicBezTo>
                    <a:cubicBezTo>
                      <a:pt x="6" y="96"/>
                      <a:pt x="8" y="98"/>
                      <a:pt x="8" y="100"/>
                    </a:cubicBezTo>
                    <a:cubicBezTo>
                      <a:pt x="8" y="102"/>
                      <a:pt x="6" y="104"/>
                      <a:pt x="4" y="104"/>
                    </a:cubicBezTo>
                    <a:cubicBezTo>
                      <a:pt x="1" y="104"/>
                      <a:pt x="0" y="102"/>
                      <a:pt x="0" y="100"/>
                    </a:cubicBezTo>
                    <a:close/>
                    <a:moveTo>
                      <a:pt x="0" y="76"/>
                    </a:moveTo>
                    <a:cubicBezTo>
                      <a:pt x="0" y="74"/>
                      <a:pt x="1" y="72"/>
                      <a:pt x="4" y="72"/>
                    </a:cubicBezTo>
                    <a:cubicBezTo>
                      <a:pt x="6" y="72"/>
                      <a:pt x="8" y="74"/>
                      <a:pt x="8" y="76"/>
                    </a:cubicBezTo>
                    <a:cubicBezTo>
                      <a:pt x="8" y="78"/>
                      <a:pt x="6" y="80"/>
                      <a:pt x="4" y="80"/>
                    </a:cubicBezTo>
                    <a:cubicBezTo>
                      <a:pt x="1" y="80"/>
                      <a:pt x="0" y="78"/>
                      <a:pt x="0" y="76"/>
                    </a:cubicBezTo>
                    <a:close/>
                    <a:moveTo>
                      <a:pt x="0" y="52"/>
                    </a:moveTo>
                    <a:cubicBezTo>
                      <a:pt x="0" y="50"/>
                      <a:pt x="1" y="48"/>
                      <a:pt x="4" y="48"/>
                    </a:cubicBezTo>
                    <a:cubicBezTo>
                      <a:pt x="6" y="48"/>
                      <a:pt x="8" y="50"/>
                      <a:pt x="8" y="52"/>
                    </a:cubicBezTo>
                    <a:cubicBezTo>
                      <a:pt x="8" y="54"/>
                      <a:pt x="6" y="56"/>
                      <a:pt x="4" y="56"/>
                    </a:cubicBezTo>
                    <a:cubicBezTo>
                      <a:pt x="1" y="56"/>
                      <a:pt x="0" y="54"/>
                      <a:pt x="0" y="52"/>
                    </a:cubicBezTo>
                    <a:close/>
                    <a:moveTo>
                      <a:pt x="0" y="28"/>
                    </a:moveTo>
                    <a:cubicBezTo>
                      <a:pt x="0" y="26"/>
                      <a:pt x="1" y="24"/>
                      <a:pt x="4" y="24"/>
                    </a:cubicBezTo>
                    <a:cubicBezTo>
                      <a:pt x="6" y="24"/>
                      <a:pt x="8" y="26"/>
                      <a:pt x="8" y="28"/>
                    </a:cubicBezTo>
                    <a:cubicBezTo>
                      <a:pt x="8" y="30"/>
                      <a:pt x="6" y="32"/>
                      <a:pt x="4" y="32"/>
                    </a:cubicBezTo>
                    <a:cubicBezTo>
                      <a:pt x="1" y="32"/>
                      <a:pt x="0" y="30"/>
                      <a:pt x="0" y="28"/>
                    </a:cubicBezTo>
                    <a:close/>
                    <a:moveTo>
                      <a:pt x="0" y="4"/>
                    </a:moveTo>
                    <a:cubicBezTo>
                      <a:pt x="0" y="2"/>
                      <a:pt x="1" y="0"/>
                      <a:pt x="4" y="0"/>
                    </a:cubicBezTo>
                    <a:cubicBezTo>
                      <a:pt x="6" y="0"/>
                      <a:pt x="8" y="2"/>
                      <a:pt x="8" y="4"/>
                    </a:cubicBezTo>
                    <a:cubicBezTo>
                      <a:pt x="8" y="6"/>
                      <a:pt x="6" y="8"/>
                      <a:pt x="4" y="8"/>
                    </a:cubicBezTo>
                    <a:cubicBezTo>
                      <a:pt x="1" y="8"/>
                      <a:pt x="0" y="6"/>
                      <a:pt x="0" y="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8" name="Freeform 55">
                <a:extLst>
                  <a:ext uri="{FF2B5EF4-FFF2-40B4-BE49-F238E27FC236}">
                    <a16:creationId xmlns:a16="http://schemas.microsoft.com/office/drawing/2014/main" id="{2D8F98CA-1B96-44A9-92C5-8ECB59EC377F}"/>
                  </a:ext>
                </a:extLst>
              </p:cNvPr>
              <p:cNvSpPr>
                <a:spLocks/>
              </p:cNvSpPr>
              <p:nvPr/>
            </p:nvSpPr>
            <p:spPr bwMode="auto">
              <a:xfrm>
                <a:off x="8199438" y="2566988"/>
                <a:ext cx="73025" cy="50800"/>
              </a:xfrm>
              <a:custGeom>
                <a:avLst/>
                <a:gdLst>
                  <a:gd name="T0" fmla="*/ 12 w 23"/>
                  <a:gd name="T1" fmla="*/ 16 h 16"/>
                  <a:gd name="T2" fmla="*/ 2 w 23"/>
                  <a:gd name="T3" fmla="*/ 6 h 16"/>
                  <a:gd name="T4" fmla="*/ 2 w 23"/>
                  <a:gd name="T5" fmla="*/ 1 h 16"/>
                  <a:gd name="T6" fmla="*/ 6 w 23"/>
                  <a:gd name="T7" fmla="*/ 1 h 16"/>
                  <a:gd name="T8" fmla="*/ 12 w 23"/>
                  <a:gd name="T9" fmla="*/ 7 h 16"/>
                  <a:gd name="T10" fmla="*/ 17 w 23"/>
                  <a:gd name="T11" fmla="*/ 1 h 16"/>
                  <a:gd name="T12" fmla="*/ 22 w 23"/>
                  <a:gd name="T13" fmla="*/ 1 h 16"/>
                  <a:gd name="T14" fmla="*/ 22 w 23"/>
                  <a:gd name="T15" fmla="*/ 6 h 16"/>
                  <a:gd name="T16" fmla="*/ 12 w 23"/>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6">
                    <a:moveTo>
                      <a:pt x="12" y="16"/>
                    </a:moveTo>
                    <a:cubicBezTo>
                      <a:pt x="2" y="6"/>
                      <a:pt x="2" y="6"/>
                      <a:pt x="2" y="6"/>
                    </a:cubicBezTo>
                    <a:cubicBezTo>
                      <a:pt x="0" y="4"/>
                      <a:pt x="0" y="2"/>
                      <a:pt x="2" y="1"/>
                    </a:cubicBezTo>
                    <a:cubicBezTo>
                      <a:pt x="3" y="0"/>
                      <a:pt x="5" y="0"/>
                      <a:pt x="6" y="1"/>
                    </a:cubicBezTo>
                    <a:cubicBezTo>
                      <a:pt x="12" y="7"/>
                      <a:pt x="12" y="7"/>
                      <a:pt x="12" y="7"/>
                    </a:cubicBezTo>
                    <a:cubicBezTo>
                      <a:pt x="17" y="1"/>
                      <a:pt x="17" y="1"/>
                      <a:pt x="17" y="1"/>
                    </a:cubicBezTo>
                    <a:cubicBezTo>
                      <a:pt x="19" y="0"/>
                      <a:pt x="20" y="0"/>
                      <a:pt x="22" y="1"/>
                    </a:cubicBezTo>
                    <a:cubicBezTo>
                      <a:pt x="23" y="2"/>
                      <a:pt x="23" y="4"/>
                      <a:pt x="22" y="6"/>
                    </a:cubicBezTo>
                    <a:lnTo>
                      <a:pt x="12"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9" name="Group 28">
              <a:extLst>
                <a:ext uri="{FF2B5EF4-FFF2-40B4-BE49-F238E27FC236}">
                  <a16:creationId xmlns:a16="http://schemas.microsoft.com/office/drawing/2014/main" id="{92501E7C-DA90-4C67-B792-760786026C50}"/>
                </a:ext>
                <a:ext uri="{C183D7F6-B498-43B3-948B-1728B52AA6E4}">
                  <adec:decorative xmlns:adec="http://schemas.microsoft.com/office/drawing/2017/decorative" val="1"/>
                </a:ext>
              </a:extLst>
            </p:cNvPr>
            <p:cNvGrpSpPr/>
            <p:nvPr/>
          </p:nvGrpSpPr>
          <p:grpSpPr>
            <a:xfrm>
              <a:off x="8774522" y="1956205"/>
              <a:ext cx="68477" cy="631855"/>
              <a:chOff x="8316913" y="1957388"/>
              <a:chExt cx="69850" cy="644525"/>
            </a:xfrm>
          </p:grpSpPr>
          <p:sp>
            <p:nvSpPr>
              <p:cNvPr id="65" name="Freeform 56">
                <a:extLst>
                  <a:ext uri="{FF2B5EF4-FFF2-40B4-BE49-F238E27FC236}">
                    <a16:creationId xmlns:a16="http://schemas.microsoft.com/office/drawing/2014/main" id="{BC92886E-55E9-45D4-9B41-2715AB423B62}"/>
                  </a:ext>
                </a:extLst>
              </p:cNvPr>
              <p:cNvSpPr>
                <a:spLocks noEditPoints="1"/>
              </p:cNvSpPr>
              <p:nvPr/>
            </p:nvSpPr>
            <p:spPr bwMode="auto">
              <a:xfrm>
                <a:off x="8339138" y="2043113"/>
                <a:ext cx="25400" cy="558800"/>
              </a:xfrm>
              <a:custGeom>
                <a:avLst/>
                <a:gdLst>
                  <a:gd name="T0" fmla="*/ 0 w 8"/>
                  <a:gd name="T1" fmla="*/ 172 h 176"/>
                  <a:gd name="T2" fmla="*/ 4 w 8"/>
                  <a:gd name="T3" fmla="*/ 168 h 176"/>
                  <a:gd name="T4" fmla="*/ 8 w 8"/>
                  <a:gd name="T5" fmla="*/ 172 h 176"/>
                  <a:gd name="T6" fmla="*/ 4 w 8"/>
                  <a:gd name="T7" fmla="*/ 176 h 176"/>
                  <a:gd name="T8" fmla="*/ 0 w 8"/>
                  <a:gd name="T9" fmla="*/ 172 h 176"/>
                  <a:gd name="T10" fmla="*/ 0 w 8"/>
                  <a:gd name="T11" fmla="*/ 148 h 176"/>
                  <a:gd name="T12" fmla="*/ 4 w 8"/>
                  <a:gd name="T13" fmla="*/ 144 h 176"/>
                  <a:gd name="T14" fmla="*/ 8 w 8"/>
                  <a:gd name="T15" fmla="*/ 148 h 176"/>
                  <a:gd name="T16" fmla="*/ 4 w 8"/>
                  <a:gd name="T17" fmla="*/ 152 h 176"/>
                  <a:gd name="T18" fmla="*/ 0 w 8"/>
                  <a:gd name="T19" fmla="*/ 148 h 176"/>
                  <a:gd name="T20" fmla="*/ 0 w 8"/>
                  <a:gd name="T21" fmla="*/ 124 h 176"/>
                  <a:gd name="T22" fmla="*/ 4 w 8"/>
                  <a:gd name="T23" fmla="*/ 120 h 176"/>
                  <a:gd name="T24" fmla="*/ 8 w 8"/>
                  <a:gd name="T25" fmla="*/ 124 h 176"/>
                  <a:gd name="T26" fmla="*/ 4 w 8"/>
                  <a:gd name="T27" fmla="*/ 128 h 176"/>
                  <a:gd name="T28" fmla="*/ 0 w 8"/>
                  <a:gd name="T29" fmla="*/ 124 h 176"/>
                  <a:gd name="T30" fmla="*/ 0 w 8"/>
                  <a:gd name="T31" fmla="*/ 100 h 176"/>
                  <a:gd name="T32" fmla="*/ 4 w 8"/>
                  <a:gd name="T33" fmla="*/ 96 h 176"/>
                  <a:gd name="T34" fmla="*/ 8 w 8"/>
                  <a:gd name="T35" fmla="*/ 100 h 176"/>
                  <a:gd name="T36" fmla="*/ 4 w 8"/>
                  <a:gd name="T37" fmla="*/ 104 h 176"/>
                  <a:gd name="T38" fmla="*/ 0 w 8"/>
                  <a:gd name="T39" fmla="*/ 100 h 176"/>
                  <a:gd name="T40" fmla="*/ 0 w 8"/>
                  <a:gd name="T41" fmla="*/ 76 h 176"/>
                  <a:gd name="T42" fmla="*/ 4 w 8"/>
                  <a:gd name="T43" fmla="*/ 72 h 176"/>
                  <a:gd name="T44" fmla="*/ 8 w 8"/>
                  <a:gd name="T45" fmla="*/ 76 h 176"/>
                  <a:gd name="T46" fmla="*/ 4 w 8"/>
                  <a:gd name="T47" fmla="*/ 80 h 176"/>
                  <a:gd name="T48" fmla="*/ 0 w 8"/>
                  <a:gd name="T49" fmla="*/ 76 h 176"/>
                  <a:gd name="T50" fmla="*/ 0 w 8"/>
                  <a:gd name="T51" fmla="*/ 52 h 176"/>
                  <a:gd name="T52" fmla="*/ 4 w 8"/>
                  <a:gd name="T53" fmla="*/ 48 h 176"/>
                  <a:gd name="T54" fmla="*/ 8 w 8"/>
                  <a:gd name="T55" fmla="*/ 52 h 176"/>
                  <a:gd name="T56" fmla="*/ 4 w 8"/>
                  <a:gd name="T57" fmla="*/ 56 h 176"/>
                  <a:gd name="T58" fmla="*/ 0 w 8"/>
                  <a:gd name="T59" fmla="*/ 52 h 176"/>
                  <a:gd name="T60" fmla="*/ 0 w 8"/>
                  <a:gd name="T61" fmla="*/ 28 h 176"/>
                  <a:gd name="T62" fmla="*/ 4 w 8"/>
                  <a:gd name="T63" fmla="*/ 24 h 176"/>
                  <a:gd name="T64" fmla="*/ 8 w 8"/>
                  <a:gd name="T65" fmla="*/ 28 h 176"/>
                  <a:gd name="T66" fmla="*/ 4 w 8"/>
                  <a:gd name="T67" fmla="*/ 32 h 176"/>
                  <a:gd name="T68" fmla="*/ 0 w 8"/>
                  <a:gd name="T69" fmla="*/ 28 h 176"/>
                  <a:gd name="T70" fmla="*/ 0 w 8"/>
                  <a:gd name="T71" fmla="*/ 4 h 176"/>
                  <a:gd name="T72" fmla="*/ 4 w 8"/>
                  <a:gd name="T73" fmla="*/ 0 h 176"/>
                  <a:gd name="T74" fmla="*/ 8 w 8"/>
                  <a:gd name="T75" fmla="*/ 4 h 176"/>
                  <a:gd name="T76" fmla="*/ 4 w 8"/>
                  <a:gd name="T77" fmla="*/ 8 h 176"/>
                  <a:gd name="T78" fmla="*/ 0 w 8"/>
                  <a:gd name="T79"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 h="176">
                    <a:moveTo>
                      <a:pt x="0" y="172"/>
                    </a:moveTo>
                    <a:cubicBezTo>
                      <a:pt x="0" y="170"/>
                      <a:pt x="2" y="168"/>
                      <a:pt x="4" y="168"/>
                    </a:cubicBezTo>
                    <a:cubicBezTo>
                      <a:pt x="6" y="168"/>
                      <a:pt x="8" y="170"/>
                      <a:pt x="8" y="172"/>
                    </a:cubicBezTo>
                    <a:cubicBezTo>
                      <a:pt x="8" y="174"/>
                      <a:pt x="6" y="176"/>
                      <a:pt x="4" y="176"/>
                    </a:cubicBezTo>
                    <a:cubicBezTo>
                      <a:pt x="2" y="176"/>
                      <a:pt x="0" y="174"/>
                      <a:pt x="0" y="172"/>
                    </a:cubicBezTo>
                    <a:close/>
                    <a:moveTo>
                      <a:pt x="0" y="148"/>
                    </a:moveTo>
                    <a:cubicBezTo>
                      <a:pt x="0" y="146"/>
                      <a:pt x="2" y="144"/>
                      <a:pt x="4" y="144"/>
                    </a:cubicBezTo>
                    <a:cubicBezTo>
                      <a:pt x="6" y="144"/>
                      <a:pt x="8" y="146"/>
                      <a:pt x="8" y="148"/>
                    </a:cubicBezTo>
                    <a:cubicBezTo>
                      <a:pt x="8" y="150"/>
                      <a:pt x="6" y="152"/>
                      <a:pt x="4" y="152"/>
                    </a:cubicBezTo>
                    <a:cubicBezTo>
                      <a:pt x="2" y="152"/>
                      <a:pt x="0" y="150"/>
                      <a:pt x="0" y="148"/>
                    </a:cubicBezTo>
                    <a:close/>
                    <a:moveTo>
                      <a:pt x="0" y="124"/>
                    </a:moveTo>
                    <a:cubicBezTo>
                      <a:pt x="0" y="122"/>
                      <a:pt x="2" y="120"/>
                      <a:pt x="4" y="120"/>
                    </a:cubicBezTo>
                    <a:cubicBezTo>
                      <a:pt x="6" y="120"/>
                      <a:pt x="8" y="122"/>
                      <a:pt x="8" y="124"/>
                    </a:cubicBezTo>
                    <a:cubicBezTo>
                      <a:pt x="8" y="126"/>
                      <a:pt x="6" y="128"/>
                      <a:pt x="4" y="128"/>
                    </a:cubicBezTo>
                    <a:cubicBezTo>
                      <a:pt x="2" y="128"/>
                      <a:pt x="0" y="126"/>
                      <a:pt x="0" y="124"/>
                    </a:cubicBezTo>
                    <a:close/>
                    <a:moveTo>
                      <a:pt x="0" y="100"/>
                    </a:moveTo>
                    <a:cubicBezTo>
                      <a:pt x="0" y="98"/>
                      <a:pt x="2" y="96"/>
                      <a:pt x="4" y="96"/>
                    </a:cubicBezTo>
                    <a:cubicBezTo>
                      <a:pt x="6" y="96"/>
                      <a:pt x="8" y="98"/>
                      <a:pt x="8" y="100"/>
                    </a:cubicBezTo>
                    <a:cubicBezTo>
                      <a:pt x="8" y="102"/>
                      <a:pt x="6" y="104"/>
                      <a:pt x="4" y="104"/>
                    </a:cubicBezTo>
                    <a:cubicBezTo>
                      <a:pt x="2" y="104"/>
                      <a:pt x="0" y="102"/>
                      <a:pt x="0" y="100"/>
                    </a:cubicBezTo>
                    <a:close/>
                    <a:moveTo>
                      <a:pt x="0" y="76"/>
                    </a:moveTo>
                    <a:cubicBezTo>
                      <a:pt x="0" y="74"/>
                      <a:pt x="2" y="72"/>
                      <a:pt x="4" y="72"/>
                    </a:cubicBezTo>
                    <a:cubicBezTo>
                      <a:pt x="6" y="72"/>
                      <a:pt x="8" y="74"/>
                      <a:pt x="8" y="76"/>
                    </a:cubicBezTo>
                    <a:cubicBezTo>
                      <a:pt x="8" y="78"/>
                      <a:pt x="6" y="80"/>
                      <a:pt x="4" y="80"/>
                    </a:cubicBezTo>
                    <a:cubicBezTo>
                      <a:pt x="2" y="80"/>
                      <a:pt x="0" y="78"/>
                      <a:pt x="0" y="76"/>
                    </a:cubicBezTo>
                    <a:close/>
                    <a:moveTo>
                      <a:pt x="0" y="52"/>
                    </a:moveTo>
                    <a:cubicBezTo>
                      <a:pt x="0" y="50"/>
                      <a:pt x="2" y="48"/>
                      <a:pt x="4" y="48"/>
                    </a:cubicBezTo>
                    <a:cubicBezTo>
                      <a:pt x="6" y="48"/>
                      <a:pt x="8" y="50"/>
                      <a:pt x="8" y="52"/>
                    </a:cubicBezTo>
                    <a:cubicBezTo>
                      <a:pt x="8" y="54"/>
                      <a:pt x="6" y="56"/>
                      <a:pt x="4" y="56"/>
                    </a:cubicBezTo>
                    <a:cubicBezTo>
                      <a:pt x="2" y="56"/>
                      <a:pt x="0" y="54"/>
                      <a:pt x="0" y="52"/>
                    </a:cubicBezTo>
                    <a:close/>
                    <a:moveTo>
                      <a:pt x="0" y="28"/>
                    </a:moveTo>
                    <a:cubicBezTo>
                      <a:pt x="0" y="26"/>
                      <a:pt x="2" y="24"/>
                      <a:pt x="4" y="24"/>
                    </a:cubicBezTo>
                    <a:cubicBezTo>
                      <a:pt x="6" y="24"/>
                      <a:pt x="8" y="26"/>
                      <a:pt x="8" y="28"/>
                    </a:cubicBezTo>
                    <a:cubicBezTo>
                      <a:pt x="8" y="30"/>
                      <a:pt x="6" y="32"/>
                      <a:pt x="4" y="32"/>
                    </a:cubicBezTo>
                    <a:cubicBezTo>
                      <a:pt x="2" y="32"/>
                      <a:pt x="0" y="30"/>
                      <a:pt x="0" y="28"/>
                    </a:cubicBezTo>
                    <a:close/>
                    <a:moveTo>
                      <a:pt x="0" y="4"/>
                    </a:moveTo>
                    <a:cubicBezTo>
                      <a:pt x="0" y="2"/>
                      <a:pt x="2" y="0"/>
                      <a:pt x="4" y="0"/>
                    </a:cubicBezTo>
                    <a:cubicBezTo>
                      <a:pt x="6" y="0"/>
                      <a:pt x="8" y="2"/>
                      <a:pt x="8" y="4"/>
                    </a:cubicBezTo>
                    <a:cubicBezTo>
                      <a:pt x="8" y="6"/>
                      <a:pt x="6" y="8"/>
                      <a:pt x="4" y="8"/>
                    </a:cubicBezTo>
                    <a:cubicBezTo>
                      <a:pt x="2" y="8"/>
                      <a:pt x="0" y="6"/>
                      <a:pt x="0" y="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6" name="Freeform 57">
                <a:extLst>
                  <a:ext uri="{FF2B5EF4-FFF2-40B4-BE49-F238E27FC236}">
                    <a16:creationId xmlns:a16="http://schemas.microsoft.com/office/drawing/2014/main" id="{9D09CFEE-C47C-45B7-92D5-B16CD7EE2314}"/>
                  </a:ext>
                </a:extLst>
              </p:cNvPr>
              <p:cNvSpPr>
                <a:spLocks/>
              </p:cNvSpPr>
              <p:nvPr/>
            </p:nvSpPr>
            <p:spPr bwMode="auto">
              <a:xfrm>
                <a:off x="8316913" y="1957388"/>
                <a:ext cx="69850" cy="47625"/>
              </a:xfrm>
              <a:custGeom>
                <a:avLst/>
                <a:gdLst>
                  <a:gd name="T0" fmla="*/ 11 w 22"/>
                  <a:gd name="T1" fmla="*/ 0 h 15"/>
                  <a:gd name="T2" fmla="*/ 21 w 22"/>
                  <a:gd name="T3" fmla="*/ 10 h 15"/>
                  <a:gd name="T4" fmla="*/ 21 w 22"/>
                  <a:gd name="T5" fmla="*/ 14 h 15"/>
                  <a:gd name="T6" fmla="*/ 16 w 22"/>
                  <a:gd name="T7" fmla="*/ 14 h 15"/>
                  <a:gd name="T8" fmla="*/ 11 w 22"/>
                  <a:gd name="T9" fmla="*/ 8 h 15"/>
                  <a:gd name="T10" fmla="*/ 5 w 22"/>
                  <a:gd name="T11" fmla="*/ 14 h 15"/>
                  <a:gd name="T12" fmla="*/ 1 w 22"/>
                  <a:gd name="T13" fmla="*/ 14 h 15"/>
                  <a:gd name="T14" fmla="*/ 1 w 22"/>
                  <a:gd name="T15" fmla="*/ 10 h 15"/>
                  <a:gd name="T16" fmla="*/ 11 w 22"/>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
                    <a:moveTo>
                      <a:pt x="11" y="0"/>
                    </a:moveTo>
                    <a:cubicBezTo>
                      <a:pt x="21" y="10"/>
                      <a:pt x="21" y="10"/>
                      <a:pt x="21" y="10"/>
                    </a:cubicBezTo>
                    <a:cubicBezTo>
                      <a:pt x="22" y="11"/>
                      <a:pt x="22" y="13"/>
                      <a:pt x="21" y="14"/>
                    </a:cubicBezTo>
                    <a:cubicBezTo>
                      <a:pt x="20" y="15"/>
                      <a:pt x="18" y="15"/>
                      <a:pt x="16" y="14"/>
                    </a:cubicBezTo>
                    <a:cubicBezTo>
                      <a:pt x="11" y="8"/>
                      <a:pt x="11" y="8"/>
                      <a:pt x="11" y="8"/>
                    </a:cubicBezTo>
                    <a:cubicBezTo>
                      <a:pt x="5" y="14"/>
                      <a:pt x="5" y="14"/>
                      <a:pt x="5" y="14"/>
                    </a:cubicBezTo>
                    <a:cubicBezTo>
                      <a:pt x="4" y="15"/>
                      <a:pt x="2" y="15"/>
                      <a:pt x="1" y="14"/>
                    </a:cubicBezTo>
                    <a:cubicBezTo>
                      <a:pt x="0" y="13"/>
                      <a:pt x="0" y="11"/>
                      <a:pt x="1" y="10"/>
                    </a:cubicBezTo>
                    <a:lnTo>
                      <a:pt x="1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0" name="Group 29">
              <a:extLst>
                <a:ext uri="{FF2B5EF4-FFF2-40B4-BE49-F238E27FC236}">
                  <a16:creationId xmlns:a16="http://schemas.microsoft.com/office/drawing/2014/main" id="{48C03C44-BF4F-4771-87DB-AED781100D63}"/>
                </a:ext>
                <a:ext uri="{C183D7F6-B498-43B3-948B-1728B52AA6E4}">
                  <adec:decorative xmlns:adec="http://schemas.microsoft.com/office/drawing/2017/decorative" val="1"/>
                </a:ext>
              </a:extLst>
            </p:cNvPr>
            <p:cNvGrpSpPr/>
            <p:nvPr/>
          </p:nvGrpSpPr>
          <p:grpSpPr>
            <a:xfrm>
              <a:off x="8659357" y="4514751"/>
              <a:ext cx="71589" cy="638080"/>
              <a:chOff x="8199438" y="4567238"/>
              <a:chExt cx="73025" cy="650875"/>
            </a:xfrm>
          </p:grpSpPr>
          <p:sp>
            <p:nvSpPr>
              <p:cNvPr id="63" name="Freeform 58">
                <a:extLst>
                  <a:ext uri="{FF2B5EF4-FFF2-40B4-BE49-F238E27FC236}">
                    <a16:creationId xmlns:a16="http://schemas.microsoft.com/office/drawing/2014/main" id="{B7956506-A0E5-4ADE-A19E-8C04B365DD41}"/>
                  </a:ext>
                </a:extLst>
              </p:cNvPr>
              <p:cNvSpPr>
                <a:spLocks noEditPoints="1"/>
              </p:cNvSpPr>
              <p:nvPr/>
            </p:nvSpPr>
            <p:spPr bwMode="auto">
              <a:xfrm>
                <a:off x="8224838" y="4567238"/>
                <a:ext cx="25400" cy="558800"/>
              </a:xfrm>
              <a:custGeom>
                <a:avLst/>
                <a:gdLst>
                  <a:gd name="T0" fmla="*/ 0 w 8"/>
                  <a:gd name="T1" fmla="*/ 172 h 176"/>
                  <a:gd name="T2" fmla="*/ 4 w 8"/>
                  <a:gd name="T3" fmla="*/ 168 h 176"/>
                  <a:gd name="T4" fmla="*/ 8 w 8"/>
                  <a:gd name="T5" fmla="*/ 172 h 176"/>
                  <a:gd name="T6" fmla="*/ 4 w 8"/>
                  <a:gd name="T7" fmla="*/ 176 h 176"/>
                  <a:gd name="T8" fmla="*/ 0 w 8"/>
                  <a:gd name="T9" fmla="*/ 172 h 176"/>
                  <a:gd name="T10" fmla="*/ 0 w 8"/>
                  <a:gd name="T11" fmla="*/ 148 h 176"/>
                  <a:gd name="T12" fmla="*/ 4 w 8"/>
                  <a:gd name="T13" fmla="*/ 144 h 176"/>
                  <a:gd name="T14" fmla="*/ 8 w 8"/>
                  <a:gd name="T15" fmla="*/ 148 h 176"/>
                  <a:gd name="T16" fmla="*/ 4 w 8"/>
                  <a:gd name="T17" fmla="*/ 152 h 176"/>
                  <a:gd name="T18" fmla="*/ 0 w 8"/>
                  <a:gd name="T19" fmla="*/ 148 h 176"/>
                  <a:gd name="T20" fmla="*/ 0 w 8"/>
                  <a:gd name="T21" fmla="*/ 124 h 176"/>
                  <a:gd name="T22" fmla="*/ 4 w 8"/>
                  <a:gd name="T23" fmla="*/ 120 h 176"/>
                  <a:gd name="T24" fmla="*/ 8 w 8"/>
                  <a:gd name="T25" fmla="*/ 124 h 176"/>
                  <a:gd name="T26" fmla="*/ 4 w 8"/>
                  <a:gd name="T27" fmla="*/ 128 h 176"/>
                  <a:gd name="T28" fmla="*/ 0 w 8"/>
                  <a:gd name="T29" fmla="*/ 124 h 176"/>
                  <a:gd name="T30" fmla="*/ 0 w 8"/>
                  <a:gd name="T31" fmla="*/ 100 h 176"/>
                  <a:gd name="T32" fmla="*/ 4 w 8"/>
                  <a:gd name="T33" fmla="*/ 96 h 176"/>
                  <a:gd name="T34" fmla="*/ 8 w 8"/>
                  <a:gd name="T35" fmla="*/ 100 h 176"/>
                  <a:gd name="T36" fmla="*/ 4 w 8"/>
                  <a:gd name="T37" fmla="*/ 104 h 176"/>
                  <a:gd name="T38" fmla="*/ 0 w 8"/>
                  <a:gd name="T39" fmla="*/ 100 h 176"/>
                  <a:gd name="T40" fmla="*/ 0 w 8"/>
                  <a:gd name="T41" fmla="*/ 76 h 176"/>
                  <a:gd name="T42" fmla="*/ 4 w 8"/>
                  <a:gd name="T43" fmla="*/ 72 h 176"/>
                  <a:gd name="T44" fmla="*/ 8 w 8"/>
                  <a:gd name="T45" fmla="*/ 76 h 176"/>
                  <a:gd name="T46" fmla="*/ 4 w 8"/>
                  <a:gd name="T47" fmla="*/ 80 h 176"/>
                  <a:gd name="T48" fmla="*/ 0 w 8"/>
                  <a:gd name="T49" fmla="*/ 76 h 176"/>
                  <a:gd name="T50" fmla="*/ 0 w 8"/>
                  <a:gd name="T51" fmla="*/ 52 h 176"/>
                  <a:gd name="T52" fmla="*/ 4 w 8"/>
                  <a:gd name="T53" fmla="*/ 48 h 176"/>
                  <a:gd name="T54" fmla="*/ 8 w 8"/>
                  <a:gd name="T55" fmla="*/ 52 h 176"/>
                  <a:gd name="T56" fmla="*/ 4 w 8"/>
                  <a:gd name="T57" fmla="*/ 56 h 176"/>
                  <a:gd name="T58" fmla="*/ 0 w 8"/>
                  <a:gd name="T59" fmla="*/ 52 h 176"/>
                  <a:gd name="T60" fmla="*/ 0 w 8"/>
                  <a:gd name="T61" fmla="*/ 28 h 176"/>
                  <a:gd name="T62" fmla="*/ 4 w 8"/>
                  <a:gd name="T63" fmla="*/ 24 h 176"/>
                  <a:gd name="T64" fmla="*/ 8 w 8"/>
                  <a:gd name="T65" fmla="*/ 28 h 176"/>
                  <a:gd name="T66" fmla="*/ 4 w 8"/>
                  <a:gd name="T67" fmla="*/ 32 h 176"/>
                  <a:gd name="T68" fmla="*/ 0 w 8"/>
                  <a:gd name="T69" fmla="*/ 28 h 176"/>
                  <a:gd name="T70" fmla="*/ 0 w 8"/>
                  <a:gd name="T71" fmla="*/ 4 h 176"/>
                  <a:gd name="T72" fmla="*/ 4 w 8"/>
                  <a:gd name="T73" fmla="*/ 0 h 176"/>
                  <a:gd name="T74" fmla="*/ 8 w 8"/>
                  <a:gd name="T75" fmla="*/ 4 h 176"/>
                  <a:gd name="T76" fmla="*/ 4 w 8"/>
                  <a:gd name="T77" fmla="*/ 8 h 176"/>
                  <a:gd name="T78" fmla="*/ 0 w 8"/>
                  <a:gd name="T79"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 h="176">
                    <a:moveTo>
                      <a:pt x="0" y="172"/>
                    </a:moveTo>
                    <a:cubicBezTo>
                      <a:pt x="0" y="170"/>
                      <a:pt x="1" y="168"/>
                      <a:pt x="4" y="168"/>
                    </a:cubicBezTo>
                    <a:cubicBezTo>
                      <a:pt x="6" y="168"/>
                      <a:pt x="8" y="170"/>
                      <a:pt x="8" y="172"/>
                    </a:cubicBezTo>
                    <a:cubicBezTo>
                      <a:pt x="8" y="174"/>
                      <a:pt x="6" y="176"/>
                      <a:pt x="4" y="176"/>
                    </a:cubicBezTo>
                    <a:cubicBezTo>
                      <a:pt x="1" y="176"/>
                      <a:pt x="0" y="174"/>
                      <a:pt x="0" y="172"/>
                    </a:cubicBezTo>
                    <a:close/>
                    <a:moveTo>
                      <a:pt x="0" y="148"/>
                    </a:moveTo>
                    <a:cubicBezTo>
                      <a:pt x="0" y="146"/>
                      <a:pt x="1" y="144"/>
                      <a:pt x="4" y="144"/>
                    </a:cubicBezTo>
                    <a:cubicBezTo>
                      <a:pt x="6" y="144"/>
                      <a:pt x="8" y="146"/>
                      <a:pt x="8" y="148"/>
                    </a:cubicBezTo>
                    <a:cubicBezTo>
                      <a:pt x="8" y="150"/>
                      <a:pt x="6" y="152"/>
                      <a:pt x="4" y="152"/>
                    </a:cubicBezTo>
                    <a:cubicBezTo>
                      <a:pt x="1" y="152"/>
                      <a:pt x="0" y="150"/>
                      <a:pt x="0" y="148"/>
                    </a:cubicBezTo>
                    <a:close/>
                    <a:moveTo>
                      <a:pt x="0" y="124"/>
                    </a:moveTo>
                    <a:cubicBezTo>
                      <a:pt x="0" y="122"/>
                      <a:pt x="1" y="120"/>
                      <a:pt x="4" y="120"/>
                    </a:cubicBezTo>
                    <a:cubicBezTo>
                      <a:pt x="6" y="120"/>
                      <a:pt x="8" y="122"/>
                      <a:pt x="8" y="124"/>
                    </a:cubicBezTo>
                    <a:cubicBezTo>
                      <a:pt x="8" y="126"/>
                      <a:pt x="6" y="128"/>
                      <a:pt x="4" y="128"/>
                    </a:cubicBezTo>
                    <a:cubicBezTo>
                      <a:pt x="1" y="128"/>
                      <a:pt x="0" y="126"/>
                      <a:pt x="0" y="124"/>
                    </a:cubicBezTo>
                    <a:close/>
                    <a:moveTo>
                      <a:pt x="0" y="100"/>
                    </a:moveTo>
                    <a:cubicBezTo>
                      <a:pt x="0" y="98"/>
                      <a:pt x="1" y="96"/>
                      <a:pt x="4" y="96"/>
                    </a:cubicBezTo>
                    <a:cubicBezTo>
                      <a:pt x="6" y="96"/>
                      <a:pt x="8" y="98"/>
                      <a:pt x="8" y="100"/>
                    </a:cubicBezTo>
                    <a:cubicBezTo>
                      <a:pt x="8" y="102"/>
                      <a:pt x="6" y="104"/>
                      <a:pt x="4" y="104"/>
                    </a:cubicBezTo>
                    <a:cubicBezTo>
                      <a:pt x="1" y="104"/>
                      <a:pt x="0" y="102"/>
                      <a:pt x="0" y="100"/>
                    </a:cubicBezTo>
                    <a:close/>
                    <a:moveTo>
                      <a:pt x="0" y="76"/>
                    </a:moveTo>
                    <a:cubicBezTo>
                      <a:pt x="0" y="74"/>
                      <a:pt x="1" y="72"/>
                      <a:pt x="4" y="72"/>
                    </a:cubicBezTo>
                    <a:cubicBezTo>
                      <a:pt x="6" y="72"/>
                      <a:pt x="8" y="74"/>
                      <a:pt x="8" y="76"/>
                    </a:cubicBezTo>
                    <a:cubicBezTo>
                      <a:pt x="8" y="78"/>
                      <a:pt x="6" y="80"/>
                      <a:pt x="4" y="80"/>
                    </a:cubicBezTo>
                    <a:cubicBezTo>
                      <a:pt x="1" y="80"/>
                      <a:pt x="0" y="78"/>
                      <a:pt x="0" y="76"/>
                    </a:cubicBezTo>
                    <a:close/>
                    <a:moveTo>
                      <a:pt x="0" y="52"/>
                    </a:moveTo>
                    <a:cubicBezTo>
                      <a:pt x="0" y="50"/>
                      <a:pt x="1" y="48"/>
                      <a:pt x="4" y="48"/>
                    </a:cubicBezTo>
                    <a:cubicBezTo>
                      <a:pt x="6" y="48"/>
                      <a:pt x="8" y="50"/>
                      <a:pt x="8" y="52"/>
                    </a:cubicBezTo>
                    <a:cubicBezTo>
                      <a:pt x="8" y="54"/>
                      <a:pt x="6" y="56"/>
                      <a:pt x="4" y="56"/>
                    </a:cubicBezTo>
                    <a:cubicBezTo>
                      <a:pt x="1" y="56"/>
                      <a:pt x="0" y="54"/>
                      <a:pt x="0" y="52"/>
                    </a:cubicBezTo>
                    <a:close/>
                    <a:moveTo>
                      <a:pt x="0" y="28"/>
                    </a:moveTo>
                    <a:cubicBezTo>
                      <a:pt x="0" y="26"/>
                      <a:pt x="1" y="24"/>
                      <a:pt x="4" y="24"/>
                    </a:cubicBezTo>
                    <a:cubicBezTo>
                      <a:pt x="6" y="24"/>
                      <a:pt x="8" y="26"/>
                      <a:pt x="8" y="28"/>
                    </a:cubicBezTo>
                    <a:cubicBezTo>
                      <a:pt x="8" y="30"/>
                      <a:pt x="6" y="32"/>
                      <a:pt x="4" y="32"/>
                    </a:cubicBezTo>
                    <a:cubicBezTo>
                      <a:pt x="1" y="32"/>
                      <a:pt x="0" y="30"/>
                      <a:pt x="0" y="28"/>
                    </a:cubicBezTo>
                    <a:close/>
                    <a:moveTo>
                      <a:pt x="0" y="4"/>
                    </a:moveTo>
                    <a:cubicBezTo>
                      <a:pt x="0" y="2"/>
                      <a:pt x="1" y="0"/>
                      <a:pt x="4" y="0"/>
                    </a:cubicBezTo>
                    <a:cubicBezTo>
                      <a:pt x="6" y="0"/>
                      <a:pt x="8" y="2"/>
                      <a:pt x="8" y="4"/>
                    </a:cubicBezTo>
                    <a:cubicBezTo>
                      <a:pt x="8" y="6"/>
                      <a:pt x="6" y="8"/>
                      <a:pt x="4" y="8"/>
                    </a:cubicBezTo>
                    <a:cubicBezTo>
                      <a:pt x="1" y="8"/>
                      <a:pt x="0" y="6"/>
                      <a:pt x="0" y="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4" name="Freeform 59">
                <a:extLst>
                  <a:ext uri="{FF2B5EF4-FFF2-40B4-BE49-F238E27FC236}">
                    <a16:creationId xmlns:a16="http://schemas.microsoft.com/office/drawing/2014/main" id="{6122DAF5-9879-4B03-8829-808D5F1FADA0}"/>
                  </a:ext>
                </a:extLst>
              </p:cNvPr>
              <p:cNvSpPr>
                <a:spLocks/>
              </p:cNvSpPr>
              <p:nvPr/>
            </p:nvSpPr>
            <p:spPr bwMode="auto">
              <a:xfrm>
                <a:off x="8199438" y="5167313"/>
                <a:ext cx="73025" cy="50800"/>
              </a:xfrm>
              <a:custGeom>
                <a:avLst/>
                <a:gdLst>
                  <a:gd name="T0" fmla="*/ 12 w 23"/>
                  <a:gd name="T1" fmla="*/ 16 h 16"/>
                  <a:gd name="T2" fmla="*/ 2 w 23"/>
                  <a:gd name="T3" fmla="*/ 6 h 16"/>
                  <a:gd name="T4" fmla="*/ 2 w 23"/>
                  <a:gd name="T5" fmla="*/ 1 h 16"/>
                  <a:gd name="T6" fmla="*/ 6 w 23"/>
                  <a:gd name="T7" fmla="*/ 1 h 16"/>
                  <a:gd name="T8" fmla="*/ 12 w 23"/>
                  <a:gd name="T9" fmla="*/ 7 h 16"/>
                  <a:gd name="T10" fmla="*/ 17 w 23"/>
                  <a:gd name="T11" fmla="*/ 1 h 16"/>
                  <a:gd name="T12" fmla="*/ 22 w 23"/>
                  <a:gd name="T13" fmla="*/ 1 h 16"/>
                  <a:gd name="T14" fmla="*/ 22 w 23"/>
                  <a:gd name="T15" fmla="*/ 6 h 16"/>
                  <a:gd name="T16" fmla="*/ 12 w 23"/>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6">
                    <a:moveTo>
                      <a:pt x="12" y="16"/>
                    </a:moveTo>
                    <a:cubicBezTo>
                      <a:pt x="2" y="6"/>
                      <a:pt x="2" y="6"/>
                      <a:pt x="2" y="6"/>
                    </a:cubicBezTo>
                    <a:cubicBezTo>
                      <a:pt x="0" y="4"/>
                      <a:pt x="0" y="3"/>
                      <a:pt x="2" y="1"/>
                    </a:cubicBezTo>
                    <a:cubicBezTo>
                      <a:pt x="3" y="0"/>
                      <a:pt x="5" y="0"/>
                      <a:pt x="6" y="1"/>
                    </a:cubicBezTo>
                    <a:cubicBezTo>
                      <a:pt x="12" y="7"/>
                      <a:pt x="12" y="7"/>
                      <a:pt x="12" y="7"/>
                    </a:cubicBezTo>
                    <a:cubicBezTo>
                      <a:pt x="17" y="1"/>
                      <a:pt x="17" y="1"/>
                      <a:pt x="17" y="1"/>
                    </a:cubicBezTo>
                    <a:cubicBezTo>
                      <a:pt x="19" y="0"/>
                      <a:pt x="20" y="0"/>
                      <a:pt x="22" y="1"/>
                    </a:cubicBezTo>
                    <a:cubicBezTo>
                      <a:pt x="23" y="3"/>
                      <a:pt x="23" y="4"/>
                      <a:pt x="22" y="6"/>
                    </a:cubicBezTo>
                    <a:lnTo>
                      <a:pt x="12"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03467933-6589-46C2-8D97-B64A57B5C4F1}"/>
                </a:ext>
                <a:ext uri="{C183D7F6-B498-43B3-948B-1728B52AA6E4}">
                  <adec:decorative xmlns:adec="http://schemas.microsoft.com/office/drawing/2017/decorative" val="1"/>
                </a:ext>
              </a:extLst>
            </p:cNvPr>
            <p:cNvGrpSpPr/>
            <p:nvPr/>
          </p:nvGrpSpPr>
          <p:grpSpPr>
            <a:xfrm>
              <a:off x="8774522" y="4505413"/>
              <a:ext cx="68477" cy="631855"/>
              <a:chOff x="8316913" y="4557713"/>
              <a:chExt cx="69850" cy="644525"/>
            </a:xfrm>
          </p:grpSpPr>
          <p:sp>
            <p:nvSpPr>
              <p:cNvPr id="61" name="Freeform 60">
                <a:extLst>
                  <a:ext uri="{FF2B5EF4-FFF2-40B4-BE49-F238E27FC236}">
                    <a16:creationId xmlns:a16="http://schemas.microsoft.com/office/drawing/2014/main" id="{3A5B8A60-EBED-46EC-AE84-BB20179434DE}"/>
                  </a:ext>
                </a:extLst>
              </p:cNvPr>
              <p:cNvSpPr>
                <a:spLocks noEditPoints="1"/>
              </p:cNvSpPr>
              <p:nvPr/>
            </p:nvSpPr>
            <p:spPr bwMode="auto">
              <a:xfrm>
                <a:off x="8339138" y="4643438"/>
                <a:ext cx="25400" cy="558800"/>
              </a:xfrm>
              <a:custGeom>
                <a:avLst/>
                <a:gdLst>
                  <a:gd name="T0" fmla="*/ 0 w 8"/>
                  <a:gd name="T1" fmla="*/ 172 h 176"/>
                  <a:gd name="T2" fmla="*/ 4 w 8"/>
                  <a:gd name="T3" fmla="*/ 168 h 176"/>
                  <a:gd name="T4" fmla="*/ 8 w 8"/>
                  <a:gd name="T5" fmla="*/ 172 h 176"/>
                  <a:gd name="T6" fmla="*/ 4 w 8"/>
                  <a:gd name="T7" fmla="*/ 176 h 176"/>
                  <a:gd name="T8" fmla="*/ 0 w 8"/>
                  <a:gd name="T9" fmla="*/ 172 h 176"/>
                  <a:gd name="T10" fmla="*/ 0 w 8"/>
                  <a:gd name="T11" fmla="*/ 148 h 176"/>
                  <a:gd name="T12" fmla="*/ 4 w 8"/>
                  <a:gd name="T13" fmla="*/ 144 h 176"/>
                  <a:gd name="T14" fmla="*/ 8 w 8"/>
                  <a:gd name="T15" fmla="*/ 148 h 176"/>
                  <a:gd name="T16" fmla="*/ 4 w 8"/>
                  <a:gd name="T17" fmla="*/ 152 h 176"/>
                  <a:gd name="T18" fmla="*/ 0 w 8"/>
                  <a:gd name="T19" fmla="*/ 148 h 176"/>
                  <a:gd name="T20" fmla="*/ 0 w 8"/>
                  <a:gd name="T21" fmla="*/ 124 h 176"/>
                  <a:gd name="T22" fmla="*/ 4 w 8"/>
                  <a:gd name="T23" fmla="*/ 120 h 176"/>
                  <a:gd name="T24" fmla="*/ 8 w 8"/>
                  <a:gd name="T25" fmla="*/ 124 h 176"/>
                  <a:gd name="T26" fmla="*/ 4 w 8"/>
                  <a:gd name="T27" fmla="*/ 128 h 176"/>
                  <a:gd name="T28" fmla="*/ 0 w 8"/>
                  <a:gd name="T29" fmla="*/ 124 h 176"/>
                  <a:gd name="T30" fmla="*/ 0 w 8"/>
                  <a:gd name="T31" fmla="*/ 100 h 176"/>
                  <a:gd name="T32" fmla="*/ 4 w 8"/>
                  <a:gd name="T33" fmla="*/ 96 h 176"/>
                  <a:gd name="T34" fmla="*/ 8 w 8"/>
                  <a:gd name="T35" fmla="*/ 100 h 176"/>
                  <a:gd name="T36" fmla="*/ 4 w 8"/>
                  <a:gd name="T37" fmla="*/ 104 h 176"/>
                  <a:gd name="T38" fmla="*/ 0 w 8"/>
                  <a:gd name="T39" fmla="*/ 100 h 176"/>
                  <a:gd name="T40" fmla="*/ 0 w 8"/>
                  <a:gd name="T41" fmla="*/ 76 h 176"/>
                  <a:gd name="T42" fmla="*/ 4 w 8"/>
                  <a:gd name="T43" fmla="*/ 72 h 176"/>
                  <a:gd name="T44" fmla="*/ 8 w 8"/>
                  <a:gd name="T45" fmla="*/ 76 h 176"/>
                  <a:gd name="T46" fmla="*/ 4 w 8"/>
                  <a:gd name="T47" fmla="*/ 80 h 176"/>
                  <a:gd name="T48" fmla="*/ 0 w 8"/>
                  <a:gd name="T49" fmla="*/ 76 h 176"/>
                  <a:gd name="T50" fmla="*/ 0 w 8"/>
                  <a:gd name="T51" fmla="*/ 52 h 176"/>
                  <a:gd name="T52" fmla="*/ 4 w 8"/>
                  <a:gd name="T53" fmla="*/ 48 h 176"/>
                  <a:gd name="T54" fmla="*/ 8 w 8"/>
                  <a:gd name="T55" fmla="*/ 52 h 176"/>
                  <a:gd name="T56" fmla="*/ 4 w 8"/>
                  <a:gd name="T57" fmla="*/ 56 h 176"/>
                  <a:gd name="T58" fmla="*/ 0 w 8"/>
                  <a:gd name="T59" fmla="*/ 52 h 176"/>
                  <a:gd name="T60" fmla="*/ 0 w 8"/>
                  <a:gd name="T61" fmla="*/ 28 h 176"/>
                  <a:gd name="T62" fmla="*/ 4 w 8"/>
                  <a:gd name="T63" fmla="*/ 24 h 176"/>
                  <a:gd name="T64" fmla="*/ 8 w 8"/>
                  <a:gd name="T65" fmla="*/ 28 h 176"/>
                  <a:gd name="T66" fmla="*/ 4 w 8"/>
                  <a:gd name="T67" fmla="*/ 32 h 176"/>
                  <a:gd name="T68" fmla="*/ 0 w 8"/>
                  <a:gd name="T69" fmla="*/ 28 h 176"/>
                  <a:gd name="T70" fmla="*/ 0 w 8"/>
                  <a:gd name="T71" fmla="*/ 4 h 176"/>
                  <a:gd name="T72" fmla="*/ 4 w 8"/>
                  <a:gd name="T73" fmla="*/ 0 h 176"/>
                  <a:gd name="T74" fmla="*/ 8 w 8"/>
                  <a:gd name="T75" fmla="*/ 4 h 176"/>
                  <a:gd name="T76" fmla="*/ 4 w 8"/>
                  <a:gd name="T77" fmla="*/ 8 h 176"/>
                  <a:gd name="T78" fmla="*/ 0 w 8"/>
                  <a:gd name="T79" fmla="*/ 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 h="176">
                    <a:moveTo>
                      <a:pt x="0" y="172"/>
                    </a:moveTo>
                    <a:cubicBezTo>
                      <a:pt x="0" y="170"/>
                      <a:pt x="2" y="168"/>
                      <a:pt x="4" y="168"/>
                    </a:cubicBezTo>
                    <a:cubicBezTo>
                      <a:pt x="6" y="168"/>
                      <a:pt x="8" y="170"/>
                      <a:pt x="8" y="172"/>
                    </a:cubicBezTo>
                    <a:cubicBezTo>
                      <a:pt x="8" y="174"/>
                      <a:pt x="6" y="176"/>
                      <a:pt x="4" y="176"/>
                    </a:cubicBezTo>
                    <a:cubicBezTo>
                      <a:pt x="2" y="176"/>
                      <a:pt x="0" y="174"/>
                      <a:pt x="0" y="172"/>
                    </a:cubicBezTo>
                    <a:close/>
                    <a:moveTo>
                      <a:pt x="0" y="148"/>
                    </a:moveTo>
                    <a:cubicBezTo>
                      <a:pt x="0" y="146"/>
                      <a:pt x="2" y="144"/>
                      <a:pt x="4" y="144"/>
                    </a:cubicBezTo>
                    <a:cubicBezTo>
                      <a:pt x="6" y="144"/>
                      <a:pt x="8" y="146"/>
                      <a:pt x="8" y="148"/>
                    </a:cubicBezTo>
                    <a:cubicBezTo>
                      <a:pt x="8" y="150"/>
                      <a:pt x="6" y="152"/>
                      <a:pt x="4" y="152"/>
                    </a:cubicBezTo>
                    <a:cubicBezTo>
                      <a:pt x="2" y="152"/>
                      <a:pt x="0" y="150"/>
                      <a:pt x="0" y="148"/>
                    </a:cubicBezTo>
                    <a:close/>
                    <a:moveTo>
                      <a:pt x="0" y="124"/>
                    </a:moveTo>
                    <a:cubicBezTo>
                      <a:pt x="0" y="122"/>
                      <a:pt x="2" y="120"/>
                      <a:pt x="4" y="120"/>
                    </a:cubicBezTo>
                    <a:cubicBezTo>
                      <a:pt x="6" y="120"/>
                      <a:pt x="8" y="122"/>
                      <a:pt x="8" y="124"/>
                    </a:cubicBezTo>
                    <a:cubicBezTo>
                      <a:pt x="8" y="126"/>
                      <a:pt x="6" y="128"/>
                      <a:pt x="4" y="128"/>
                    </a:cubicBezTo>
                    <a:cubicBezTo>
                      <a:pt x="2" y="128"/>
                      <a:pt x="0" y="126"/>
                      <a:pt x="0" y="124"/>
                    </a:cubicBezTo>
                    <a:close/>
                    <a:moveTo>
                      <a:pt x="0" y="100"/>
                    </a:moveTo>
                    <a:cubicBezTo>
                      <a:pt x="0" y="98"/>
                      <a:pt x="2" y="96"/>
                      <a:pt x="4" y="96"/>
                    </a:cubicBezTo>
                    <a:cubicBezTo>
                      <a:pt x="6" y="96"/>
                      <a:pt x="8" y="98"/>
                      <a:pt x="8" y="100"/>
                    </a:cubicBezTo>
                    <a:cubicBezTo>
                      <a:pt x="8" y="102"/>
                      <a:pt x="6" y="104"/>
                      <a:pt x="4" y="104"/>
                    </a:cubicBezTo>
                    <a:cubicBezTo>
                      <a:pt x="2" y="104"/>
                      <a:pt x="0" y="102"/>
                      <a:pt x="0" y="100"/>
                    </a:cubicBezTo>
                    <a:close/>
                    <a:moveTo>
                      <a:pt x="0" y="76"/>
                    </a:moveTo>
                    <a:cubicBezTo>
                      <a:pt x="0" y="74"/>
                      <a:pt x="2" y="72"/>
                      <a:pt x="4" y="72"/>
                    </a:cubicBezTo>
                    <a:cubicBezTo>
                      <a:pt x="6" y="72"/>
                      <a:pt x="8" y="74"/>
                      <a:pt x="8" y="76"/>
                    </a:cubicBezTo>
                    <a:cubicBezTo>
                      <a:pt x="8" y="78"/>
                      <a:pt x="6" y="80"/>
                      <a:pt x="4" y="80"/>
                    </a:cubicBezTo>
                    <a:cubicBezTo>
                      <a:pt x="2" y="80"/>
                      <a:pt x="0" y="78"/>
                      <a:pt x="0" y="76"/>
                    </a:cubicBezTo>
                    <a:close/>
                    <a:moveTo>
                      <a:pt x="0" y="52"/>
                    </a:moveTo>
                    <a:cubicBezTo>
                      <a:pt x="0" y="50"/>
                      <a:pt x="2" y="48"/>
                      <a:pt x="4" y="48"/>
                    </a:cubicBezTo>
                    <a:cubicBezTo>
                      <a:pt x="6" y="48"/>
                      <a:pt x="8" y="50"/>
                      <a:pt x="8" y="52"/>
                    </a:cubicBezTo>
                    <a:cubicBezTo>
                      <a:pt x="8" y="54"/>
                      <a:pt x="6" y="56"/>
                      <a:pt x="4" y="56"/>
                    </a:cubicBezTo>
                    <a:cubicBezTo>
                      <a:pt x="2" y="56"/>
                      <a:pt x="0" y="54"/>
                      <a:pt x="0" y="52"/>
                    </a:cubicBezTo>
                    <a:close/>
                    <a:moveTo>
                      <a:pt x="0" y="28"/>
                    </a:moveTo>
                    <a:cubicBezTo>
                      <a:pt x="0" y="26"/>
                      <a:pt x="2" y="24"/>
                      <a:pt x="4" y="24"/>
                    </a:cubicBezTo>
                    <a:cubicBezTo>
                      <a:pt x="6" y="24"/>
                      <a:pt x="8" y="26"/>
                      <a:pt x="8" y="28"/>
                    </a:cubicBezTo>
                    <a:cubicBezTo>
                      <a:pt x="8" y="30"/>
                      <a:pt x="6" y="32"/>
                      <a:pt x="4" y="32"/>
                    </a:cubicBezTo>
                    <a:cubicBezTo>
                      <a:pt x="2" y="32"/>
                      <a:pt x="0" y="30"/>
                      <a:pt x="0" y="28"/>
                    </a:cubicBezTo>
                    <a:close/>
                    <a:moveTo>
                      <a:pt x="0" y="4"/>
                    </a:moveTo>
                    <a:cubicBezTo>
                      <a:pt x="0" y="2"/>
                      <a:pt x="2" y="0"/>
                      <a:pt x="4" y="0"/>
                    </a:cubicBezTo>
                    <a:cubicBezTo>
                      <a:pt x="6" y="0"/>
                      <a:pt x="8" y="2"/>
                      <a:pt x="8" y="4"/>
                    </a:cubicBezTo>
                    <a:cubicBezTo>
                      <a:pt x="8" y="6"/>
                      <a:pt x="6" y="8"/>
                      <a:pt x="4" y="8"/>
                    </a:cubicBezTo>
                    <a:cubicBezTo>
                      <a:pt x="2" y="8"/>
                      <a:pt x="0" y="6"/>
                      <a:pt x="0" y="4"/>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2" name="Freeform 61">
                <a:extLst>
                  <a:ext uri="{FF2B5EF4-FFF2-40B4-BE49-F238E27FC236}">
                    <a16:creationId xmlns:a16="http://schemas.microsoft.com/office/drawing/2014/main" id="{30DB2F9B-A172-4D4F-B426-0B2D88250370}"/>
                  </a:ext>
                </a:extLst>
              </p:cNvPr>
              <p:cNvSpPr>
                <a:spLocks/>
              </p:cNvSpPr>
              <p:nvPr/>
            </p:nvSpPr>
            <p:spPr bwMode="auto">
              <a:xfrm>
                <a:off x="8316913" y="4557713"/>
                <a:ext cx="69850" cy="47625"/>
              </a:xfrm>
              <a:custGeom>
                <a:avLst/>
                <a:gdLst>
                  <a:gd name="T0" fmla="*/ 11 w 22"/>
                  <a:gd name="T1" fmla="*/ 0 h 15"/>
                  <a:gd name="T2" fmla="*/ 21 w 22"/>
                  <a:gd name="T3" fmla="*/ 10 h 15"/>
                  <a:gd name="T4" fmla="*/ 21 w 22"/>
                  <a:gd name="T5" fmla="*/ 14 h 15"/>
                  <a:gd name="T6" fmla="*/ 16 w 22"/>
                  <a:gd name="T7" fmla="*/ 14 h 15"/>
                  <a:gd name="T8" fmla="*/ 11 w 22"/>
                  <a:gd name="T9" fmla="*/ 8 h 15"/>
                  <a:gd name="T10" fmla="*/ 5 w 22"/>
                  <a:gd name="T11" fmla="*/ 14 h 15"/>
                  <a:gd name="T12" fmla="*/ 1 w 22"/>
                  <a:gd name="T13" fmla="*/ 14 h 15"/>
                  <a:gd name="T14" fmla="*/ 1 w 22"/>
                  <a:gd name="T15" fmla="*/ 10 h 15"/>
                  <a:gd name="T16" fmla="*/ 11 w 22"/>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
                    <a:moveTo>
                      <a:pt x="11" y="0"/>
                    </a:moveTo>
                    <a:cubicBezTo>
                      <a:pt x="21" y="10"/>
                      <a:pt x="21" y="10"/>
                      <a:pt x="21" y="10"/>
                    </a:cubicBezTo>
                    <a:cubicBezTo>
                      <a:pt x="22" y="11"/>
                      <a:pt x="22" y="13"/>
                      <a:pt x="21" y="14"/>
                    </a:cubicBezTo>
                    <a:cubicBezTo>
                      <a:pt x="20" y="15"/>
                      <a:pt x="18" y="15"/>
                      <a:pt x="16" y="14"/>
                    </a:cubicBezTo>
                    <a:cubicBezTo>
                      <a:pt x="11" y="8"/>
                      <a:pt x="11" y="8"/>
                      <a:pt x="11" y="8"/>
                    </a:cubicBezTo>
                    <a:cubicBezTo>
                      <a:pt x="5" y="14"/>
                      <a:pt x="5" y="14"/>
                      <a:pt x="5" y="14"/>
                    </a:cubicBezTo>
                    <a:cubicBezTo>
                      <a:pt x="4" y="15"/>
                      <a:pt x="2" y="15"/>
                      <a:pt x="1" y="14"/>
                    </a:cubicBezTo>
                    <a:cubicBezTo>
                      <a:pt x="0" y="13"/>
                      <a:pt x="0" y="11"/>
                      <a:pt x="1" y="10"/>
                    </a:cubicBezTo>
                    <a:lnTo>
                      <a:pt x="11"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2" name="Group 31">
              <a:extLst>
                <a:ext uri="{FF2B5EF4-FFF2-40B4-BE49-F238E27FC236}">
                  <a16:creationId xmlns:a16="http://schemas.microsoft.com/office/drawing/2014/main" id="{BD4829C9-B0ED-4624-8D38-23749FDC3F21}"/>
                </a:ext>
                <a:ext uri="{C183D7F6-B498-43B3-948B-1728B52AA6E4}">
                  <adec:decorative xmlns:adec="http://schemas.microsoft.com/office/drawing/2017/decorative" val="1"/>
                </a:ext>
              </a:extLst>
            </p:cNvPr>
            <p:cNvGrpSpPr/>
            <p:nvPr/>
          </p:nvGrpSpPr>
          <p:grpSpPr>
            <a:xfrm>
              <a:off x="7401872" y="4066539"/>
              <a:ext cx="554040" cy="339272"/>
              <a:chOff x="6916738" y="4110038"/>
              <a:chExt cx="565150" cy="346075"/>
            </a:xfrm>
          </p:grpSpPr>
          <p:sp>
            <p:nvSpPr>
              <p:cNvPr id="59" name="Freeform 62">
                <a:extLst>
                  <a:ext uri="{FF2B5EF4-FFF2-40B4-BE49-F238E27FC236}">
                    <a16:creationId xmlns:a16="http://schemas.microsoft.com/office/drawing/2014/main" id="{898CD8F3-C112-49D9-A0CD-60A7462E1B1E}"/>
                  </a:ext>
                </a:extLst>
              </p:cNvPr>
              <p:cNvSpPr>
                <a:spLocks noEditPoints="1"/>
              </p:cNvSpPr>
              <p:nvPr/>
            </p:nvSpPr>
            <p:spPr bwMode="auto">
              <a:xfrm>
                <a:off x="6916738" y="4157663"/>
                <a:ext cx="488950" cy="298450"/>
              </a:xfrm>
              <a:custGeom>
                <a:avLst/>
                <a:gdLst>
                  <a:gd name="T0" fmla="*/ 152 w 154"/>
                  <a:gd name="T1" fmla="*/ 8 h 94"/>
                  <a:gd name="T2" fmla="*/ 146 w 154"/>
                  <a:gd name="T3" fmla="*/ 7 h 94"/>
                  <a:gd name="T4" fmla="*/ 148 w 154"/>
                  <a:gd name="T5" fmla="*/ 2 h 94"/>
                  <a:gd name="T6" fmla="*/ 153 w 154"/>
                  <a:gd name="T7" fmla="*/ 3 h 94"/>
                  <a:gd name="T8" fmla="*/ 152 w 154"/>
                  <a:gd name="T9" fmla="*/ 8 h 94"/>
                  <a:gd name="T10" fmla="*/ 131 w 154"/>
                  <a:gd name="T11" fmla="*/ 20 h 94"/>
                  <a:gd name="T12" fmla="*/ 126 w 154"/>
                  <a:gd name="T13" fmla="*/ 19 h 94"/>
                  <a:gd name="T14" fmla="*/ 127 w 154"/>
                  <a:gd name="T15" fmla="*/ 14 h 94"/>
                  <a:gd name="T16" fmla="*/ 133 w 154"/>
                  <a:gd name="T17" fmla="*/ 15 h 94"/>
                  <a:gd name="T18" fmla="*/ 131 w 154"/>
                  <a:gd name="T19" fmla="*/ 20 h 94"/>
                  <a:gd name="T20" fmla="*/ 110 w 154"/>
                  <a:gd name="T21" fmla="*/ 32 h 94"/>
                  <a:gd name="T22" fmla="*/ 105 w 154"/>
                  <a:gd name="T23" fmla="*/ 31 h 94"/>
                  <a:gd name="T24" fmla="*/ 106 w 154"/>
                  <a:gd name="T25" fmla="*/ 26 h 94"/>
                  <a:gd name="T26" fmla="*/ 112 w 154"/>
                  <a:gd name="T27" fmla="*/ 27 h 94"/>
                  <a:gd name="T28" fmla="*/ 110 w 154"/>
                  <a:gd name="T29" fmla="*/ 32 h 94"/>
                  <a:gd name="T30" fmla="*/ 89 w 154"/>
                  <a:gd name="T31" fmla="*/ 44 h 94"/>
                  <a:gd name="T32" fmla="*/ 84 w 154"/>
                  <a:gd name="T33" fmla="*/ 43 h 94"/>
                  <a:gd name="T34" fmla="*/ 85 w 154"/>
                  <a:gd name="T35" fmla="*/ 38 h 94"/>
                  <a:gd name="T36" fmla="*/ 91 w 154"/>
                  <a:gd name="T37" fmla="*/ 39 h 94"/>
                  <a:gd name="T38" fmla="*/ 89 w 154"/>
                  <a:gd name="T39" fmla="*/ 44 h 94"/>
                  <a:gd name="T40" fmla="*/ 69 w 154"/>
                  <a:gd name="T41" fmla="*/ 56 h 94"/>
                  <a:gd name="T42" fmla="*/ 63 w 154"/>
                  <a:gd name="T43" fmla="*/ 55 h 94"/>
                  <a:gd name="T44" fmla="*/ 65 w 154"/>
                  <a:gd name="T45" fmla="*/ 50 h 94"/>
                  <a:gd name="T46" fmla="*/ 70 w 154"/>
                  <a:gd name="T47" fmla="*/ 51 h 94"/>
                  <a:gd name="T48" fmla="*/ 69 w 154"/>
                  <a:gd name="T49" fmla="*/ 56 h 94"/>
                  <a:gd name="T50" fmla="*/ 48 w 154"/>
                  <a:gd name="T51" fmla="*/ 68 h 94"/>
                  <a:gd name="T52" fmla="*/ 42 w 154"/>
                  <a:gd name="T53" fmla="*/ 67 h 94"/>
                  <a:gd name="T54" fmla="*/ 44 w 154"/>
                  <a:gd name="T55" fmla="*/ 62 h 94"/>
                  <a:gd name="T56" fmla="*/ 49 w 154"/>
                  <a:gd name="T57" fmla="*/ 63 h 94"/>
                  <a:gd name="T58" fmla="*/ 48 w 154"/>
                  <a:gd name="T59" fmla="*/ 68 h 94"/>
                  <a:gd name="T60" fmla="*/ 27 w 154"/>
                  <a:gd name="T61" fmla="*/ 80 h 94"/>
                  <a:gd name="T62" fmla="*/ 22 w 154"/>
                  <a:gd name="T63" fmla="*/ 79 h 94"/>
                  <a:gd name="T64" fmla="*/ 23 w 154"/>
                  <a:gd name="T65" fmla="*/ 74 h 94"/>
                  <a:gd name="T66" fmla="*/ 29 w 154"/>
                  <a:gd name="T67" fmla="*/ 75 h 94"/>
                  <a:gd name="T68" fmla="*/ 27 w 154"/>
                  <a:gd name="T69" fmla="*/ 80 h 94"/>
                  <a:gd name="T70" fmla="*/ 6 w 154"/>
                  <a:gd name="T71" fmla="*/ 92 h 94"/>
                  <a:gd name="T72" fmla="*/ 1 w 154"/>
                  <a:gd name="T73" fmla="*/ 91 h 94"/>
                  <a:gd name="T74" fmla="*/ 2 w 154"/>
                  <a:gd name="T75" fmla="*/ 86 h 94"/>
                  <a:gd name="T76" fmla="*/ 8 w 154"/>
                  <a:gd name="T77" fmla="*/ 87 h 94"/>
                  <a:gd name="T78" fmla="*/ 6 w 154"/>
                  <a:gd name="T79" fmla="*/ 9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94">
                    <a:moveTo>
                      <a:pt x="152" y="8"/>
                    </a:moveTo>
                    <a:cubicBezTo>
                      <a:pt x="150" y="10"/>
                      <a:pt x="147" y="9"/>
                      <a:pt x="146" y="7"/>
                    </a:cubicBezTo>
                    <a:cubicBezTo>
                      <a:pt x="145" y="5"/>
                      <a:pt x="146" y="3"/>
                      <a:pt x="148" y="2"/>
                    </a:cubicBezTo>
                    <a:cubicBezTo>
                      <a:pt x="150" y="0"/>
                      <a:pt x="152" y="1"/>
                      <a:pt x="153" y="3"/>
                    </a:cubicBezTo>
                    <a:cubicBezTo>
                      <a:pt x="154" y="5"/>
                      <a:pt x="154" y="7"/>
                      <a:pt x="152" y="8"/>
                    </a:cubicBezTo>
                    <a:close/>
                    <a:moveTo>
                      <a:pt x="131" y="20"/>
                    </a:moveTo>
                    <a:cubicBezTo>
                      <a:pt x="129" y="22"/>
                      <a:pt x="127" y="21"/>
                      <a:pt x="126" y="19"/>
                    </a:cubicBezTo>
                    <a:cubicBezTo>
                      <a:pt x="124" y="17"/>
                      <a:pt x="125" y="15"/>
                      <a:pt x="127" y="14"/>
                    </a:cubicBezTo>
                    <a:cubicBezTo>
                      <a:pt x="129" y="12"/>
                      <a:pt x="131" y="13"/>
                      <a:pt x="133" y="15"/>
                    </a:cubicBezTo>
                    <a:cubicBezTo>
                      <a:pt x="134" y="17"/>
                      <a:pt x="133" y="19"/>
                      <a:pt x="131" y="20"/>
                    </a:cubicBezTo>
                    <a:close/>
                    <a:moveTo>
                      <a:pt x="110" y="32"/>
                    </a:moveTo>
                    <a:cubicBezTo>
                      <a:pt x="108" y="34"/>
                      <a:pt x="106" y="33"/>
                      <a:pt x="105" y="31"/>
                    </a:cubicBezTo>
                    <a:cubicBezTo>
                      <a:pt x="104" y="29"/>
                      <a:pt x="104" y="27"/>
                      <a:pt x="106" y="26"/>
                    </a:cubicBezTo>
                    <a:cubicBezTo>
                      <a:pt x="108" y="24"/>
                      <a:pt x="111" y="25"/>
                      <a:pt x="112" y="27"/>
                    </a:cubicBezTo>
                    <a:cubicBezTo>
                      <a:pt x="113" y="29"/>
                      <a:pt x="112" y="31"/>
                      <a:pt x="110" y="32"/>
                    </a:cubicBezTo>
                    <a:close/>
                    <a:moveTo>
                      <a:pt x="89" y="44"/>
                    </a:moveTo>
                    <a:cubicBezTo>
                      <a:pt x="88" y="46"/>
                      <a:pt x="85" y="45"/>
                      <a:pt x="84" y="43"/>
                    </a:cubicBezTo>
                    <a:cubicBezTo>
                      <a:pt x="83" y="41"/>
                      <a:pt x="84" y="39"/>
                      <a:pt x="85" y="38"/>
                    </a:cubicBezTo>
                    <a:cubicBezTo>
                      <a:pt x="87" y="36"/>
                      <a:pt x="90" y="37"/>
                      <a:pt x="91" y="39"/>
                    </a:cubicBezTo>
                    <a:cubicBezTo>
                      <a:pt x="92" y="41"/>
                      <a:pt x="91" y="43"/>
                      <a:pt x="89" y="44"/>
                    </a:cubicBezTo>
                    <a:close/>
                    <a:moveTo>
                      <a:pt x="69" y="56"/>
                    </a:moveTo>
                    <a:cubicBezTo>
                      <a:pt x="67" y="58"/>
                      <a:pt x="64" y="57"/>
                      <a:pt x="63" y="55"/>
                    </a:cubicBezTo>
                    <a:cubicBezTo>
                      <a:pt x="62" y="53"/>
                      <a:pt x="63" y="51"/>
                      <a:pt x="65" y="50"/>
                    </a:cubicBezTo>
                    <a:cubicBezTo>
                      <a:pt x="67" y="48"/>
                      <a:pt x="69" y="49"/>
                      <a:pt x="70" y="51"/>
                    </a:cubicBezTo>
                    <a:cubicBezTo>
                      <a:pt x="71" y="53"/>
                      <a:pt x="71" y="55"/>
                      <a:pt x="69" y="56"/>
                    </a:cubicBezTo>
                    <a:close/>
                    <a:moveTo>
                      <a:pt x="48" y="68"/>
                    </a:moveTo>
                    <a:cubicBezTo>
                      <a:pt x="46" y="70"/>
                      <a:pt x="44" y="69"/>
                      <a:pt x="42" y="67"/>
                    </a:cubicBezTo>
                    <a:cubicBezTo>
                      <a:pt x="41" y="65"/>
                      <a:pt x="42" y="63"/>
                      <a:pt x="44" y="62"/>
                    </a:cubicBezTo>
                    <a:cubicBezTo>
                      <a:pt x="46" y="60"/>
                      <a:pt x="48" y="61"/>
                      <a:pt x="49" y="63"/>
                    </a:cubicBezTo>
                    <a:cubicBezTo>
                      <a:pt x="51" y="65"/>
                      <a:pt x="50" y="67"/>
                      <a:pt x="48" y="68"/>
                    </a:cubicBezTo>
                    <a:close/>
                    <a:moveTo>
                      <a:pt x="27" y="80"/>
                    </a:moveTo>
                    <a:cubicBezTo>
                      <a:pt x="25" y="82"/>
                      <a:pt x="23" y="81"/>
                      <a:pt x="22" y="79"/>
                    </a:cubicBezTo>
                    <a:cubicBezTo>
                      <a:pt x="21" y="77"/>
                      <a:pt x="21" y="75"/>
                      <a:pt x="23" y="74"/>
                    </a:cubicBezTo>
                    <a:cubicBezTo>
                      <a:pt x="25" y="72"/>
                      <a:pt x="28" y="73"/>
                      <a:pt x="29" y="75"/>
                    </a:cubicBezTo>
                    <a:cubicBezTo>
                      <a:pt x="30" y="77"/>
                      <a:pt x="29" y="79"/>
                      <a:pt x="27" y="80"/>
                    </a:cubicBezTo>
                    <a:close/>
                    <a:moveTo>
                      <a:pt x="6" y="92"/>
                    </a:moveTo>
                    <a:cubicBezTo>
                      <a:pt x="4" y="94"/>
                      <a:pt x="2" y="93"/>
                      <a:pt x="1" y="91"/>
                    </a:cubicBezTo>
                    <a:cubicBezTo>
                      <a:pt x="0" y="89"/>
                      <a:pt x="0" y="87"/>
                      <a:pt x="2" y="86"/>
                    </a:cubicBezTo>
                    <a:cubicBezTo>
                      <a:pt x="4" y="84"/>
                      <a:pt x="7" y="85"/>
                      <a:pt x="8" y="87"/>
                    </a:cubicBezTo>
                    <a:cubicBezTo>
                      <a:pt x="9" y="89"/>
                      <a:pt x="8" y="91"/>
                      <a:pt x="6" y="9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60" name="Freeform 63">
                <a:extLst>
                  <a:ext uri="{FF2B5EF4-FFF2-40B4-BE49-F238E27FC236}">
                    <a16:creationId xmlns:a16="http://schemas.microsoft.com/office/drawing/2014/main" id="{E5390B5B-1C66-48AD-9DF8-5A73B3C6A2B9}"/>
                  </a:ext>
                </a:extLst>
              </p:cNvPr>
              <p:cNvSpPr>
                <a:spLocks/>
              </p:cNvSpPr>
              <p:nvPr/>
            </p:nvSpPr>
            <p:spPr bwMode="auto">
              <a:xfrm>
                <a:off x="7424738" y="4110038"/>
                <a:ext cx="57150" cy="63500"/>
              </a:xfrm>
              <a:custGeom>
                <a:avLst/>
                <a:gdLst>
                  <a:gd name="T0" fmla="*/ 18 w 18"/>
                  <a:gd name="T1" fmla="*/ 4 h 20"/>
                  <a:gd name="T2" fmla="*/ 14 w 18"/>
                  <a:gd name="T3" fmla="*/ 17 h 20"/>
                  <a:gd name="T4" fmla="*/ 11 w 18"/>
                  <a:gd name="T5" fmla="*/ 20 h 20"/>
                  <a:gd name="T6" fmla="*/ 8 w 18"/>
                  <a:gd name="T7" fmla="*/ 16 h 20"/>
                  <a:gd name="T8" fmla="*/ 11 w 18"/>
                  <a:gd name="T9" fmla="*/ 8 h 20"/>
                  <a:gd name="T10" fmla="*/ 3 w 18"/>
                  <a:gd name="T11" fmla="*/ 6 h 20"/>
                  <a:gd name="T12" fmla="*/ 1 w 18"/>
                  <a:gd name="T13" fmla="*/ 2 h 20"/>
                  <a:gd name="T14" fmla="*/ 4 w 18"/>
                  <a:gd name="T15" fmla="*/ 0 h 20"/>
                  <a:gd name="T16" fmla="*/ 18 w 18"/>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18" y="4"/>
                    </a:moveTo>
                    <a:cubicBezTo>
                      <a:pt x="14" y="17"/>
                      <a:pt x="14" y="17"/>
                      <a:pt x="14" y="17"/>
                    </a:cubicBezTo>
                    <a:cubicBezTo>
                      <a:pt x="14" y="19"/>
                      <a:pt x="12" y="20"/>
                      <a:pt x="11" y="20"/>
                    </a:cubicBezTo>
                    <a:cubicBezTo>
                      <a:pt x="9" y="19"/>
                      <a:pt x="8" y="17"/>
                      <a:pt x="8" y="16"/>
                    </a:cubicBezTo>
                    <a:cubicBezTo>
                      <a:pt x="11" y="8"/>
                      <a:pt x="11" y="8"/>
                      <a:pt x="11" y="8"/>
                    </a:cubicBezTo>
                    <a:cubicBezTo>
                      <a:pt x="3" y="6"/>
                      <a:pt x="3" y="6"/>
                      <a:pt x="3" y="6"/>
                    </a:cubicBezTo>
                    <a:cubicBezTo>
                      <a:pt x="1" y="5"/>
                      <a:pt x="0" y="4"/>
                      <a:pt x="1" y="2"/>
                    </a:cubicBezTo>
                    <a:cubicBezTo>
                      <a:pt x="1" y="1"/>
                      <a:pt x="3" y="0"/>
                      <a:pt x="4" y="0"/>
                    </a:cubicBezTo>
                    <a:lnTo>
                      <a:pt x="18" y="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3" name="Group 32">
              <a:extLst>
                <a:ext uri="{FF2B5EF4-FFF2-40B4-BE49-F238E27FC236}">
                  <a16:creationId xmlns:a16="http://schemas.microsoft.com/office/drawing/2014/main" id="{24D323FA-3ED3-4D71-BEB2-B070DF80C819}"/>
                </a:ext>
                <a:ext uri="{C183D7F6-B498-43B3-948B-1728B52AA6E4}">
                  <adec:decorative xmlns:adec="http://schemas.microsoft.com/office/drawing/2017/decorative" val="1"/>
                </a:ext>
              </a:extLst>
            </p:cNvPr>
            <p:cNvGrpSpPr/>
            <p:nvPr/>
          </p:nvGrpSpPr>
          <p:grpSpPr>
            <a:xfrm>
              <a:off x="7339621" y="3979386"/>
              <a:ext cx="550928" cy="339272"/>
              <a:chOff x="6853238" y="4021138"/>
              <a:chExt cx="561975" cy="346075"/>
            </a:xfrm>
          </p:grpSpPr>
          <p:sp>
            <p:nvSpPr>
              <p:cNvPr id="57" name="Freeform 64">
                <a:extLst>
                  <a:ext uri="{FF2B5EF4-FFF2-40B4-BE49-F238E27FC236}">
                    <a16:creationId xmlns:a16="http://schemas.microsoft.com/office/drawing/2014/main" id="{320F1A9F-B08D-4BC8-9696-23DFD0330D1D}"/>
                  </a:ext>
                </a:extLst>
              </p:cNvPr>
              <p:cNvSpPr>
                <a:spLocks noEditPoints="1"/>
              </p:cNvSpPr>
              <p:nvPr/>
            </p:nvSpPr>
            <p:spPr bwMode="auto">
              <a:xfrm>
                <a:off x="6926263" y="4021138"/>
                <a:ext cx="488950" cy="295275"/>
              </a:xfrm>
              <a:custGeom>
                <a:avLst/>
                <a:gdLst>
                  <a:gd name="T0" fmla="*/ 152 w 154"/>
                  <a:gd name="T1" fmla="*/ 8 h 93"/>
                  <a:gd name="T2" fmla="*/ 146 w 154"/>
                  <a:gd name="T3" fmla="*/ 7 h 93"/>
                  <a:gd name="T4" fmla="*/ 148 w 154"/>
                  <a:gd name="T5" fmla="*/ 1 h 93"/>
                  <a:gd name="T6" fmla="*/ 153 w 154"/>
                  <a:gd name="T7" fmla="*/ 3 h 93"/>
                  <a:gd name="T8" fmla="*/ 152 w 154"/>
                  <a:gd name="T9" fmla="*/ 8 h 93"/>
                  <a:gd name="T10" fmla="*/ 131 w 154"/>
                  <a:gd name="T11" fmla="*/ 20 h 93"/>
                  <a:gd name="T12" fmla="*/ 125 w 154"/>
                  <a:gd name="T13" fmla="*/ 19 h 93"/>
                  <a:gd name="T14" fmla="*/ 127 w 154"/>
                  <a:gd name="T15" fmla="*/ 13 h 93"/>
                  <a:gd name="T16" fmla="*/ 132 w 154"/>
                  <a:gd name="T17" fmla="*/ 15 h 93"/>
                  <a:gd name="T18" fmla="*/ 131 w 154"/>
                  <a:gd name="T19" fmla="*/ 20 h 93"/>
                  <a:gd name="T20" fmla="*/ 110 w 154"/>
                  <a:gd name="T21" fmla="*/ 32 h 93"/>
                  <a:gd name="T22" fmla="*/ 105 w 154"/>
                  <a:gd name="T23" fmla="*/ 31 h 93"/>
                  <a:gd name="T24" fmla="*/ 106 w 154"/>
                  <a:gd name="T25" fmla="*/ 25 h 93"/>
                  <a:gd name="T26" fmla="*/ 111 w 154"/>
                  <a:gd name="T27" fmla="*/ 27 h 93"/>
                  <a:gd name="T28" fmla="*/ 110 w 154"/>
                  <a:gd name="T29" fmla="*/ 32 h 93"/>
                  <a:gd name="T30" fmla="*/ 89 w 154"/>
                  <a:gd name="T31" fmla="*/ 44 h 93"/>
                  <a:gd name="T32" fmla="*/ 84 w 154"/>
                  <a:gd name="T33" fmla="*/ 43 h 93"/>
                  <a:gd name="T34" fmla="*/ 85 w 154"/>
                  <a:gd name="T35" fmla="*/ 37 h 93"/>
                  <a:gd name="T36" fmla="*/ 91 w 154"/>
                  <a:gd name="T37" fmla="*/ 39 h 93"/>
                  <a:gd name="T38" fmla="*/ 89 w 154"/>
                  <a:gd name="T39" fmla="*/ 44 h 93"/>
                  <a:gd name="T40" fmla="*/ 68 w 154"/>
                  <a:gd name="T41" fmla="*/ 56 h 93"/>
                  <a:gd name="T42" fmla="*/ 63 w 154"/>
                  <a:gd name="T43" fmla="*/ 55 h 93"/>
                  <a:gd name="T44" fmla="*/ 64 w 154"/>
                  <a:gd name="T45" fmla="*/ 49 h 93"/>
                  <a:gd name="T46" fmla="*/ 70 w 154"/>
                  <a:gd name="T47" fmla="*/ 51 h 93"/>
                  <a:gd name="T48" fmla="*/ 68 w 154"/>
                  <a:gd name="T49" fmla="*/ 56 h 93"/>
                  <a:gd name="T50" fmla="*/ 48 w 154"/>
                  <a:gd name="T51" fmla="*/ 68 h 93"/>
                  <a:gd name="T52" fmla="*/ 42 w 154"/>
                  <a:gd name="T53" fmla="*/ 67 h 93"/>
                  <a:gd name="T54" fmla="*/ 44 w 154"/>
                  <a:gd name="T55" fmla="*/ 61 h 93"/>
                  <a:gd name="T56" fmla="*/ 49 w 154"/>
                  <a:gd name="T57" fmla="*/ 63 h 93"/>
                  <a:gd name="T58" fmla="*/ 48 w 154"/>
                  <a:gd name="T59" fmla="*/ 68 h 93"/>
                  <a:gd name="T60" fmla="*/ 27 w 154"/>
                  <a:gd name="T61" fmla="*/ 80 h 93"/>
                  <a:gd name="T62" fmla="*/ 21 w 154"/>
                  <a:gd name="T63" fmla="*/ 79 h 93"/>
                  <a:gd name="T64" fmla="*/ 23 w 154"/>
                  <a:gd name="T65" fmla="*/ 73 h 93"/>
                  <a:gd name="T66" fmla="*/ 28 w 154"/>
                  <a:gd name="T67" fmla="*/ 75 h 93"/>
                  <a:gd name="T68" fmla="*/ 27 w 154"/>
                  <a:gd name="T69" fmla="*/ 80 h 93"/>
                  <a:gd name="T70" fmla="*/ 6 w 154"/>
                  <a:gd name="T71" fmla="*/ 92 h 93"/>
                  <a:gd name="T72" fmla="*/ 1 w 154"/>
                  <a:gd name="T73" fmla="*/ 91 h 93"/>
                  <a:gd name="T74" fmla="*/ 2 w 154"/>
                  <a:gd name="T75" fmla="*/ 85 h 93"/>
                  <a:gd name="T76" fmla="*/ 8 w 154"/>
                  <a:gd name="T77" fmla="*/ 87 h 93"/>
                  <a:gd name="T78" fmla="*/ 6 w 154"/>
                  <a:gd name="T79"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93">
                    <a:moveTo>
                      <a:pt x="152" y="8"/>
                    </a:moveTo>
                    <a:cubicBezTo>
                      <a:pt x="150" y="9"/>
                      <a:pt x="147" y="9"/>
                      <a:pt x="146" y="7"/>
                    </a:cubicBezTo>
                    <a:cubicBezTo>
                      <a:pt x="145" y="5"/>
                      <a:pt x="146" y="2"/>
                      <a:pt x="148" y="1"/>
                    </a:cubicBezTo>
                    <a:cubicBezTo>
                      <a:pt x="149" y="0"/>
                      <a:pt x="152" y="1"/>
                      <a:pt x="153" y="3"/>
                    </a:cubicBezTo>
                    <a:cubicBezTo>
                      <a:pt x="154" y="5"/>
                      <a:pt x="153" y="7"/>
                      <a:pt x="152" y="8"/>
                    </a:cubicBezTo>
                    <a:close/>
                    <a:moveTo>
                      <a:pt x="131" y="20"/>
                    </a:moveTo>
                    <a:cubicBezTo>
                      <a:pt x="129" y="21"/>
                      <a:pt x="126" y="21"/>
                      <a:pt x="125" y="19"/>
                    </a:cubicBezTo>
                    <a:cubicBezTo>
                      <a:pt x="124" y="17"/>
                      <a:pt x="125" y="14"/>
                      <a:pt x="127" y="13"/>
                    </a:cubicBezTo>
                    <a:cubicBezTo>
                      <a:pt x="129" y="12"/>
                      <a:pt x="131" y="13"/>
                      <a:pt x="132" y="15"/>
                    </a:cubicBezTo>
                    <a:cubicBezTo>
                      <a:pt x="133" y="17"/>
                      <a:pt x="133" y="19"/>
                      <a:pt x="131" y="20"/>
                    </a:cubicBezTo>
                    <a:close/>
                    <a:moveTo>
                      <a:pt x="110" y="32"/>
                    </a:moveTo>
                    <a:cubicBezTo>
                      <a:pt x="108" y="33"/>
                      <a:pt x="106" y="33"/>
                      <a:pt x="105" y="31"/>
                    </a:cubicBezTo>
                    <a:cubicBezTo>
                      <a:pt x="103" y="29"/>
                      <a:pt x="104" y="26"/>
                      <a:pt x="106" y="25"/>
                    </a:cubicBezTo>
                    <a:cubicBezTo>
                      <a:pt x="108" y="24"/>
                      <a:pt x="110" y="25"/>
                      <a:pt x="111" y="27"/>
                    </a:cubicBezTo>
                    <a:cubicBezTo>
                      <a:pt x="113" y="29"/>
                      <a:pt x="112" y="31"/>
                      <a:pt x="110" y="32"/>
                    </a:cubicBezTo>
                    <a:close/>
                    <a:moveTo>
                      <a:pt x="89" y="44"/>
                    </a:moveTo>
                    <a:cubicBezTo>
                      <a:pt x="87" y="45"/>
                      <a:pt x="85" y="45"/>
                      <a:pt x="84" y="43"/>
                    </a:cubicBezTo>
                    <a:cubicBezTo>
                      <a:pt x="83" y="41"/>
                      <a:pt x="83" y="38"/>
                      <a:pt x="85" y="37"/>
                    </a:cubicBezTo>
                    <a:cubicBezTo>
                      <a:pt x="87" y="36"/>
                      <a:pt x="90" y="37"/>
                      <a:pt x="91" y="39"/>
                    </a:cubicBezTo>
                    <a:cubicBezTo>
                      <a:pt x="92" y="41"/>
                      <a:pt x="91" y="43"/>
                      <a:pt x="89" y="44"/>
                    </a:cubicBezTo>
                    <a:close/>
                    <a:moveTo>
                      <a:pt x="68" y="56"/>
                    </a:moveTo>
                    <a:cubicBezTo>
                      <a:pt x="67" y="57"/>
                      <a:pt x="64" y="57"/>
                      <a:pt x="63" y="55"/>
                    </a:cubicBezTo>
                    <a:cubicBezTo>
                      <a:pt x="62" y="53"/>
                      <a:pt x="63" y="50"/>
                      <a:pt x="64" y="49"/>
                    </a:cubicBezTo>
                    <a:cubicBezTo>
                      <a:pt x="66" y="48"/>
                      <a:pt x="69" y="49"/>
                      <a:pt x="70" y="51"/>
                    </a:cubicBezTo>
                    <a:cubicBezTo>
                      <a:pt x="71" y="53"/>
                      <a:pt x="70" y="55"/>
                      <a:pt x="68" y="56"/>
                    </a:cubicBezTo>
                    <a:close/>
                    <a:moveTo>
                      <a:pt x="48" y="68"/>
                    </a:moveTo>
                    <a:cubicBezTo>
                      <a:pt x="46" y="69"/>
                      <a:pt x="43" y="69"/>
                      <a:pt x="42" y="67"/>
                    </a:cubicBezTo>
                    <a:cubicBezTo>
                      <a:pt x="41" y="65"/>
                      <a:pt x="42" y="62"/>
                      <a:pt x="44" y="61"/>
                    </a:cubicBezTo>
                    <a:cubicBezTo>
                      <a:pt x="46" y="60"/>
                      <a:pt x="48" y="61"/>
                      <a:pt x="49" y="63"/>
                    </a:cubicBezTo>
                    <a:cubicBezTo>
                      <a:pt x="50" y="65"/>
                      <a:pt x="50" y="67"/>
                      <a:pt x="48" y="68"/>
                    </a:cubicBezTo>
                    <a:close/>
                    <a:moveTo>
                      <a:pt x="27" y="80"/>
                    </a:moveTo>
                    <a:cubicBezTo>
                      <a:pt x="25" y="81"/>
                      <a:pt x="22" y="81"/>
                      <a:pt x="21" y="79"/>
                    </a:cubicBezTo>
                    <a:cubicBezTo>
                      <a:pt x="20" y="77"/>
                      <a:pt x="21" y="74"/>
                      <a:pt x="23" y="73"/>
                    </a:cubicBezTo>
                    <a:cubicBezTo>
                      <a:pt x="25" y="72"/>
                      <a:pt x="27" y="73"/>
                      <a:pt x="28" y="75"/>
                    </a:cubicBezTo>
                    <a:cubicBezTo>
                      <a:pt x="29" y="77"/>
                      <a:pt x="29" y="79"/>
                      <a:pt x="27" y="80"/>
                    </a:cubicBezTo>
                    <a:close/>
                    <a:moveTo>
                      <a:pt x="6" y="92"/>
                    </a:moveTo>
                    <a:cubicBezTo>
                      <a:pt x="4" y="93"/>
                      <a:pt x="2" y="93"/>
                      <a:pt x="1" y="91"/>
                    </a:cubicBezTo>
                    <a:cubicBezTo>
                      <a:pt x="0" y="89"/>
                      <a:pt x="0" y="86"/>
                      <a:pt x="2" y="85"/>
                    </a:cubicBezTo>
                    <a:cubicBezTo>
                      <a:pt x="4" y="84"/>
                      <a:pt x="6" y="85"/>
                      <a:pt x="8" y="87"/>
                    </a:cubicBezTo>
                    <a:cubicBezTo>
                      <a:pt x="9" y="89"/>
                      <a:pt x="8" y="91"/>
                      <a:pt x="6" y="9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58" name="Freeform 65">
                <a:extLst>
                  <a:ext uri="{FF2B5EF4-FFF2-40B4-BE49-F238E27FC236}">
                    <a16:creationId xmlns:a16="http://schemas.microsoft.com/office/drawing/2014/main" id="{11D0AB7D-ED9B-4B45-BA18-75678C8CA11D}"/>
                  </a:ext>
                </a:extLst>
              </p:cNvPr>
              <p:cNvSpPr>
                <a:spLocks/>
              </p:cNvSpPr>
              <p:nvPr/>
            </p:nvSpPr>
            <p:spPr bwMode="auto">
              <a:xfrm>
                <a:off x="6853238" y="4300538"/>
                <a:ext cx="53975" cy="66675"/>
              </a:xfrm>
              <a:custGeom>
                <a:avLst/>
                <a:gdLst>
                  <a:gd name="T0" fmla="*/ 0 w 17"/>
                  <a:gd name="T1" fmla="*/ 16 h 21"/>
                  <a:gd name="T2" fmla="*/ 3 w 17"/>
                  <a:gd name="T3" fmla="*/ 3 h 21"/>
                  <a:gd name="T4" fmla="*/ 7 w 17"/>
                  <a:gd name="T5" fmla="*/ 1 h 21"/>
                  <a:gd name="T6" fmla="*/ 9 w 17"/>
                  <a:gd name="T7" fmla="*/ 4 h 21"/>
                  <a:gd name="T8" fmla="*/ 7 w 17"/>
                  <a:gd name="T9" fmla="*/ 12 h 21"/>
                  <a:gd name="T10" fmla="*/ 15 w 17"/>
                  <a:gd name="T11" fmla="*/ 14 h 21"/>
                  <a:gd name="T12" fmla="*/ 17 w 17"/>
                  <a:gd name="T13" fmla="*/ 18 h 21"/>
                  <a:gd name="T14" fmla="*/ 13 w 17"/>
                  <a:gd name="T15" fmla="*/ 20 h 21"/>
                  <a:gd name="T16" fmla="*/ 0 w 17"/>
                  <a:gd name="T17"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1">
                    <a:moveTo>
                      <a:pt x="0" y="16"/>
                    </a:moveTo>
                    <a:cubicBezTo>
                      <a:pt x="3" y="3"/>
                      <a:pt x="3" y="3"/>
                      <a:pt x="3" y="3"/>
                    </a:cubicBezTo>
                    <a:cubicBezTo>
                      <a:pt x="4" y="1"/>
                      <a:pt x="5" y="0"/>
                      <a:pt x="7" y="1"/>
                    </a:cubicBezTo>
                    <a:cubicBezTo>
                      <a:pt x="9" y="1"/>
                      <a:pt x="10" y="3"/>
                      <a:pt x="9" y="4"/>
                    </a:cubicBezTo>
                    <a:cubicBezTo>
                      <a:pt x="7" y="12"/>
                      <a:pt x="7" y="12"/>
                      <a:pt x="7" y="12"/>
                    </a:cubicBezTo>
                    <a:cubicBezTo>
                      <a:pt x="15" y="14"/>
                      <a:pt x="15" y="14"/>
                      <a:pt x="15" y="14"/>
                    </a:cubicBezTo>
                    <a:cubicBezTo>
                      <a:pt x="17" y="15"/>
                      <a:pt x="17" y="16"/>
                      <a:pt x="17" y="18"/>
                    </a:cubicBezTo>
                    <a:cubicBezTo>
                      <a:pt x="17" y="20"/>
                      <a:pt x="15" y="21"/>
                      <a:pt x="13" y="20"/>
                    </a:cubicBezTo>
                    <a:lnTo>
                      <a:pt x="0"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 name="Group 33">
              <a:extLst>
                <a:ext uri="{FF2B5EF4-FFF2-40B4-BE49-F238E27FC236}">
                  <a16:creationId xmlns:a16="http://schemas.microsoft.com/office/drawing/2014/main" id="{BDEA8EFD-95AF-4806-8802-68C89E89E84E}"/>
                </a:ext>
                <a:ext uri="{C183D7F6-B498-43B3-948B-1728B52AA6E4}">
                  <adec:decorative xmlns:adec="http://schemas.microsoft.com/office/drawing/2017/decorative" val="1"/>
                </a:ext>
              </a:extLst>
            </p:cNvPr>
            <p:cNvGrpSpPr/>
            <p:nvPr/>
          </p:nvGrpSpPr>
          <p:grpSpPr>
            <a:xfrm>
              <a:off x="9607140" y="2790378"/>
              <a:ext cx="554040" cy="339272"/>
              <a:chOff x="9166226" y="2808288"/>
              <a:chExt cx="565150" cy="346075"/>
            </a:xfrm>
          </p:grpSpPr>
          <p:sp>
            <p:nvSpPr>
              <p:cNvPr id="55" name="Freeform 66">
                <a:extLst>
                  <a:ext uri="{FF2B5EF4-FFF2-40B4-BE49-F238E27FC236}">
                    <a16:creationId xmlns:a16="http://schemas.microsoft.com/office/drawing/2014/main" id="{93B18D97-3C1E-45A5-993A-600C1D31EC8C}"/>
                  </a:ext>
                </a:extLst>
              </p:cNvPr>
              <p:cNvSpPr>
                <a:spLocks noEditPoints="1"/>
              </p:cNvSpPr>
              <p:nvPr/>
            </p:nvSpPr>
            <p:spPr bwMode="auto">
              <a:xfrm>
                <a:off x="9166226" y="2859088"/>
                <a:ext cx="492125" cy="295275"/>
              </a:xfrm>
              <a:custGeom>
                <a:avLst/>
                <a:gdLst>
                  <a:gd name="T0" fmla="*/ 152 w 155"/>
                  <a:gd name="T1" fmla="*/ 8 h 93"/>
                  <a:gd name="T2" fmla="*/ 147 w 155"/>
                  <a:gd name="T3" fmla="*/ 6 h 93"/>
                  <a:gd name="T4" fmla="*/ 148 w 155"/>
                  <a:gd name="T5" fmla="*/ 1 h 93"/>
                  <a:gd name="T6" fmla="*/ 154 w 155"/>
                  <a:gd name="T7" fmla="*/ 2 h 93"/>
                  <a:gd name="T8" fmla="*/ 152 w 155"/>
                  <a:gd name="T9" fmla="*/ 8 h 93"/>
                  <a:gd name="T10" fmla="*/ 131 w 155"/>
                  <a:gd name="T11" fmla="*/ 20 h 93"/>
                  <a:gd name="T12" fmla="*/ 126 w 155"/>
                  <a:gd name="T13" fmla="*/ 18 h 93"/>
                  <a:gd name="T14" fmla="*/ 127 w 155"/>
                  <a:gd name="T15" fmla="*/ 13 h 93"/>
                  <a:gd name="T16" fmla="*/ 133 w 155"/>
                  <a:gd name="T17" fmla="*/ 14 h 93"/>
                  <a:gd name="T18" fmla="*/ 131 w 155"/>
                  <a:gd name="T19" fmla="*/ 20 h 93"/>
                  <a:gd name="T20" fmla="*/ 111 w 155"/>
                  <a:gd name="T21" fmla="*/ 32 h 93"/>
                  <a:gd name="T22" fmla="*/ 105 w 155"/>
                  <a:gd name="T23" fmla="*/ 30 h 93"/>
                  <a:gd name="T24" fmla="*/ 107 w 155"/>
                  <a:gd name="T25" fmla="*/ 25 h 93"/>
                  <a:gd name="T26" fmla="*/ 112 w 155"/>
                  <a:gd name="T27" fmla="*/ 26 h 93"/>
                  <a:gd name="T28" fmla="*/ 111 w 155"/>
                  <a:gd name="T29" fmla="*/ 32 h 93"/>
                  <a:gd name="T30" fmla="*/ 90 w 155"/>
                  <a:gd name="T31" fmla="*/ 44 h 93"/>
                  <a:gd name="T32" fmla="*/ 84 w 155"/>
                  <a:gd name="T33" fmla="*/ 42 h 93"/>
                  <a:gd name="T34" fmla="*/ 86 w 155"/>
                  <a:gd name="T35" fmla="*/ 37 h 93"/>
                  <a:gd name="T36" fmla="*/ 91 w 155"/>
                  <a:gd name="T37" fmla="*/ 38 h 93"/>
                  <a:gd name="T38" fmla="*/ 90 w 155"/>
                  <a:gd name="T39" fmla="*/ 44 h 93"/>
                  <a:gd name="T40" fmla="*/ 69 w 155"/>
                  <a:gd name="T41" fmla="*/ 56 h 93"/>
                  <a:gd name="T42" fmla="*/ 64 w 155"/>
                  <a:gd name="T43" fmla="*/ 54 h 93"/>
                  <a:gd name="T44" fmla="*/ 65 w 155"/>
                  <a:gd name="T45" fmla="*/ 49 h 93"/>
                  <a:gd name="T46" fmla="*/ 70 w 155"/>
                  <a:gd name="T47" fmla="*/ 50 h 93"/>
                  <a:gd name="T48" fmla="*/ 69 w 155"/>
                  <a:gd name="T49" fmla="*/ 56 h 93"/>
                  <a:gd name="T50" fmla="*/ 48 w 155"/>
                  <a:gd name="T51" fmla="*/ 68 h 93"/>
                  <a:gd name="T52" fmla="*/ 43 w 155"/>
                  <a:gd name="T53" fmla="*/ 66 h 93"/>
                  <a:gd name="T54" fmla="*/ 44 w 155"/>
                  <a:gd name="T55" fmla="*/ 61 h 93"/>
                  <a:gd name="T56" fmla="*/ 50 w 155"/>
                  <a:gd name="T57" fmla="*/ 62 h 93"/>
                  <a:gd name="T58" fmla="*/ 48 w 155"/>
                  <a:gd name="T59" fmla="*/ 68 h 93"/>
                  <a:gd name="T60" fmla="*/ 27 w 155"/>
                  <a:gd name="T61" fmla="*/ 80 h 93"/>
                  <a:gd name="T62" fmla="*/ 22 w 155"/>
                  <a:gd name="T63" fmla="*/ 78 h 93"/>
                  <a:gd name="T64" fmla="*/ 23 w 155"/>
                  <a:gd name="T65" fmla="*/ 73 h 93"/>
                  <a:gd name="T66" fmla="*/ 29 w 155"/>
                  <a:gd name="T67" fmla="*/ 74 h 93"/>
                  <a:gd name="T68" fmla="*/ 27 w 155"/>
                  <a:gd name="T69" fmla="*/ 80 h 93"/>
                  <a:gd name="T70" fmla="*/ 7 w 155"/>
                  <a:gd name="T71" fmla="*/ 92 h 93"/>
                  <a:gd name="T72" fmla="*/ 1 w 155"/>
                  <a:gd name="T73" fmla="*/ 90 h 93"/>
                  <a:gd name="T74" fmla="*/ 3 w 155"/>
                  <a:gd name="T75" fmla="*/ 85 h 93"/>
                  <a:gd name="T76" fmla="*/ 8 w 155"/>
                  <a:gd name="T77" fmla="*/ 86 h 93"/>
                  <a:gd name="T78" fmla="*/ 7 w 155"/>
                  <a:gd name="T79"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93">
                    <a:moveTo>
                      <a:pt x="152" y="8"/>
                    </a:moveTo>
                    <a:cubicBezTo>
                      <a:pt x="150" y="9"/>
                      <a:pt x="148" y="8"/>
                      <a:pt x="147" y="6"/>
                    </a:cubicBezTo>
                    <a:cubicBezTo>
                      <a:pt x="146" y="5"/>
                      <a:pt x="146" y="2"/>
                      <a:pt x="148" y="1"/>
                    </a:cubicBezTo>
                    <a:cubicBezTo>
                      <a:pt x="150" y="0"/>
                      <a:pt x="153" y="1"/>
                      <a:pt x="154" y="2"/>
                    </a:cubicBezTo>
                    <a:cubicBezTo>
                      <a:pt x="155" y="4"/>
                      <a:pt x="154" y="7"/>
                      <a:pt x="152" y="8"/>
                    </a:cubicBezTo>
                    <a:close/>
                    <a:moveTo>
                      <a:pt x="131" y="20"/>
                    </a:moveTo>
                    <a:cubicBezTo>
                      <a:pt x="129" y="21"/>
                      <a:pt x="127" y="20"/>
                      <a:pt x="126" y="18"/>
                    </a:cubicBezTo>
                    <a:cubicBezTo>
                      <a:pt x="125" y="17"/>
                      <a:pt x="125" y="14"/>
                      <a:pt x="127" y="13"/>
                    </a:cubicBezTo>
                    <a:cubicBezTo>
                      <a:pt x="129" y="12"/>
                      <a:pt x="132" y="13"/>
                      <a:pt x="133" y="14"/>
                    </a:cubicBezTo>
                    <a:cubicBezTo>
                      <a:pt x="134" y="16"/>
                      <a:pt x="133" y="19"/>
                      <a:pt x="131" y="20"/>
                    </a:cubicBezTo>
                    <a:close/>
                    <a:moveTo>
                      <a:pt x="111" y="32"/>
                    </a:moveTo>
                    <a:cubicBezTo>
                      <a:pt x="109" y="33"/>
                      <a:pt x="106" y="32"/>
                      <a:pt x="105" y="30"/>
                    </a:cubicBezTo>
                    <a:cubicBezTo>
                      <a:pt x="104" y="29"/>
                      <a:pt x="105" y="26"/>
                      <a:pt x="107" y="25"/>
                    </a:cubicBezTo>
                    <a:cubicBezTo>
                      <a:pt x="108" y="24"/>
                      <a:pt x="111" y="25"/>
                      <a:pt x="112" y="26"/>
                    </a:cubicBezTo>
                    <a:cubicBezTo>
                      <a:pt x="113" y="28"/>
                      <a:pt x="112" y="31"/>
                      <a:pt x="111" y="32"/>
                    </a:cubicBezTo>
                    <a:close/>
                    <a:moveTo>
                      <a:pt x="90" y="44"/>
                    </a:moveTo>
                    <a:cubicBezTo>
                      <a:pt x="88" y="45"/>
                      <a:pt x="85" y="44"/>
                      <a:pt x="84" y="42"/>
                    </a:cubicBezTo>
                    <a:cubicBezTo>
                      <a:pt x="83" y="41"/>
                      <a:pt x="84" y="38"/>
                      <a:pt x="86" y="37"/>
                    </a:cubicBezTo>
                    <a:cubicBezTo>
                      <a:pt x="88" y="36"/>
                      <a:pt x="90" y="37"/>
                      <a:pt x="91" y="38"/>
                    </a:cubicBezTo>
                    <a:cubicBezTo>
                      <a:pt x="92" y="40"/>
                      <a:pt x="92" y="43"/>
                      <a:pt x="90" y="44"/>
                    </a:cubicBezTo>
                    <a:close/>
                    <a:moveTo>
                      <a:pt x="69" y="56"/>
                    </a:moveTo>
                    <a:cubicBezTo>
                      <a:pt x="67" y="57"/>
                      <a:pt x="65" y="56"/>
                      <a:pt x="64" y="54"/>
                    </a:cubicBezTo>
                    <a:cubicBezTo>
                      <a:pt x="62" y="53"/>
                      <a:pt x="63" y="50"/>
                      <a:pt x="65" y="49"/>
                    </a:cubicBezTo>
                    <a:cubicBezTo>
                      <a:pt x="67" y="48"/>
                      <a:pt x="69" y="49"/>
                      <a:pt x="70" y="50"/>
                    </a:cubicBezTo>
                    <a:cubicBezTo>
                      <a:pt x="72" y="52"/>
                      <a:pt x="71" y="55"/>
                      <a:pt x="69" y="56"/>
                    </a:cubicBezTo>
                    <a:close/>
                    <a:moveTo>
                      <a:pt x="48" y="68"/>
                    </a:moveTo>
                    <a:cubicBezTo>
                      <a:pt x="46" y="69"/>
                      <a:pt x="44" y="68"/>
                      <a:pt x="43" y="66"/>
                    </a:cubicBezTo>
                    <a:cubicBezTo>
                      <a:pt x="42" y="65"/>
                      <a:pt x="42" y="62"/>
                      <a:pt x="44" y="61"/>
                    </a:cubicBezTo>
                    <a:cubicBezTo>
                      <a:pt x="46" y="60"/>
                      <a:pt x="49" y="61"/>
                      <a:pt x="50" y="62"/>
                    </a:cubicBezTo>
                    <a:cubicBezTo>
                      <a:pt x="51" y="64"/>
                      <a:pt x="50" y="67"/>
                      <a:pt x="48" y="68"/>
                    </a:cubicBezTo>
                    <a:close/>
                    <a:moveTo>
                      <a:pt x="27" y="80"/>
                    </a:moveTo>
                    <a:cubicBezTo>
                      <a:pt x="26" y="81"/>
                      <a:pt x="23" y="80"/>
                      <a:pt x="22" y="78"/>
                    </a:cubicBezTo>
                    <a:cubicBezTo>
                      <a:pt x="21" y="77"/>
                      <a:pt x="22" y="74"/>
                      <a:pt x="23" y="73"/>
                    </a:cubicBezTo>
                    <a:cubicBezTo>
                      <a:pt x="25" y="72"/>
                      <a:pt x="28" y="73"/>
                      <a:pt x="29" y="74"/>
                    </a:cubicBezTo>
                    <a:cubicBezTo>
                      <a:pt x="30" y="76"/>
                      <a:pt x="29" y="79"/>
                      <a:pt x="27" y="80"/>
                    </a:cubicBezTo>
                    <a:close/>
                    <a:moveTo>
                      <a:pt x="7" y="92"/>
                    </a:moveTo>
                    <a:cubicBezTo>
                      <a:pt x="5" y="93"/>
                      <a:pt x="2" y="92"/>
                      <a:pt x="1" y="90"/>
                    </a:cubicBezTo>
                    <a:cubicBezTo>
                      <a:pt x="0" y="89"/>
                      <a:pt x="1" y="86"/>
                      <a:pt x="3" y="85"/>
                    </a:cubicBezTo>
                    <a:cubicBezTo>
                      <a:pt x="5" y="84"/>
                      <a:pt x="7" y="85"/>
                      <a:pt x="8" y="86"/>
                    </a:cubicBezTo>
                    <a:cubicBezTo>
                      <a:pt x="9" y="88"/>
                      <a:pt x="9" y="91"/>
                      <a:pt x="7" y="9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56" name="Freeform 67">
                <a:extLst>
                  <a:ext uri="{FF2B5EF4-FFF2-40B4-BE49-F238E27FC236}">
                    <a16:creationId xmlns:a16="http://schemas.microsoft.com/office/drawing/2014/main" id="{D2E0939C-9371-4D49-AC7F-A6BBE1555B38}"/>
                  </a:ext>
                </a:extLst>
              </p:cNvPr>
              <p:cNvSpPr>
                <a:spLocks/>
              </p:cNvSpPr>
              <p:nvPr/>
            </p:nvSpPr>
            <p:spPr bwMode="auto">
              <a:xfrm>
                <a:off x="9677401" y="2808288"/>
                <a:ext cx="53975" cy="63500"/>
              </a:xfrm>
              <a:custGeom>
                <a:avLst/>
                <a:gdLst>
                  <a:gd name="T0" fmla="*/ 17 w 17"/>
                  <a:gd name="T1" fmla="*/ 4 h 20"/>
                  <a:gd name="T2" fmla="*/ 14 w 17"/>
                  <a:gd name="T3" fmla="*/ 18 h 20"/>
                  <a:gd name="T4" fmla="*/ 10 w 17"/>
                  <a:gd name="T5" fmla="*/ 20 h 20"/>
                  <a:gd name="T6" fmla="*/ 8 w 17"/>
                  <a:gd name="T7" fmla="*/ 16 h 20"/>
                  <a:gd name="T8" fmla="*/ 10 w 17"/>
                  <a:gd name="T9" fmla="*/ 9 h 20"/>
                  <a:gd name="T10" fmla="*/ 2 w 17"/>
                  <a:gd name="T11" fmla="*/ 6 h 20"/>
                  <a:gd name="T12" fmla="*/ 0 w 17"/>
                  <a:gd name="T13" fmla="*/ 3 h 20"/>
                  <a:gd name="T14" fmla="*/ 4 w 17"/>
                  <a:gd name="T15" fmla="*/ 1 h 20"/>
                  <a:gd name="T16" fmla="*/ 17 w 17"/>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7" y="4"/>
                    </a:moveTo>
                    <a:cubicBezTo>
                      <a:pt x="14" y="18"/>
                      <a:pt x="14" y="18"/>
                      <a:pt x="14" y="18"/>
                    </a:cubicBezTo>
                    <a:cubicBezTo>
                      <a:pt x="13" y="19"/>
                      <a:pt x="12" y="20"/>
                      <a:pt x="10" y="20"/>
                    </a:cubicBezTo>
                    <a:cubicBezTo>
                      <a:pt x="8" y="20"/>
                      <a:pt x="7" y="18"/>
                      <a:pt x="8" y="16"/>
                    </a:cubicBezTo>
                    <a:cubicBezTo>
                      <a:pt x="10" y="9"/>
                      <a:pt x="10" y="9"/>
                      <a:pt x="10" y="9"/>
                    </a:cubicBezTo>
                    <a:cubicBezTo>
                      <a:pt x="2" y="6"/>
                      <a:pt x="2" y="6"/>
                      <a:pt x="2" y="6"/>
                    </a:cubicBezTo>
                    <a:cubicBezTo>
                      <a:pt x="0" y="6"/>
                      <a:pt x="0" y="4"/>
                      <a:pt x="0" y="3"/>
                    </a:cubicBezTo>
                    <a:cubicBezTo>
                      <a:pt x="0" y="1"/>
                      <a:pt x="2" y="0"/>
                      <a:pt x="4" y="1"/>
                    </a:cubicBezTo>
                    <a:lnTo>
                      <a:pt x="17" y="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5" name="Group 34">
              <a:extLst>
                <a:ext uri="{FF2B5EF4-FFF2-40B4-BE49-F238E27FC236}">
                  <a16:creationId xmlns:a16="http://schemas.microsoft.com/office/drawing/2014/main" id="{29CE462E-35F8-42CC-BC92-87F301880A8D}"/>
                </a:ext>
                <a:ext uri="{C183D7F6-B498-43B3-948B-1728B52AA6E4}">
                  <adec:decorative xmlns:adec="http://schemas.microsoft.com/office/drawing/2017/decorative" val="1"/>
                </a:ext>
              </a:extLst>
            </p:cNvPr>
            <p:cNvGrpSpPr/>
            <p:nvPr/>
          </p:nvGrpSpPr>
          <p:grpSpPr>
            <a:xfrm>
              <a:off x="9546444" y="2706338"/>
              <a:ext cx="549372" cy="336159"/>
              <a:chOff x="9104313" y="2722563"/>
              <a:chExt cx="560388" cy="342900"/>
            </a:xfrm>
          </p:grpSpPr>
          <p:sp>
            <p:nvSpPr>
              <p:cNvPr id="53" name="Freeform 68">
                <a:extLst>
                  <a:ext uri="{FF2B5EF4-FFF2-40B4-BE49-F238E27FC236}">
                    <a16:creationId xmlns:a16="http://schemas.microsoft.com/office/drawing/2014/main" id="{CA4B16EA-08E8-4E69-A112-9300425CA68F}"/>
                  </a:ext>
                </a:extLst>
              </p:cNvPr>
              <p:cNvSpPr>
                <a:spLocks noEditPoints="1"/>
              </p:cNvSpPr>
              <p:nvPr/>
            </p:nvSpPr>
            <p:spPr bwMode="auto">
              <a:xfrm>
                <a:off x="9175751" y="2722563"/>
                <a:ext cx="488950" cy="295275"/>
              </a:xfrm>
              <a:custGeom>
                <a:avLst/>
                <a:gdLst>
                  <a:gd name="T0" fmla="*/ 152 w 154"/>
                  <a:gd name="T1" fmla="*/ 8 h 93"/>
                  <a:gd name="T2" fmla="*/ 146 w 154"/>
                  <a:gd name="T3" fmla="*/ 6 h 93"/>
                  <a:gd name="T4" fmla="*/ 148 w 154"/>
                  <a:gd name="T5" fmla="*/ 1 h 93"/>
                  <a:gd name="T6" fmla="*/ 153 w 154"/>
                  <a:gd name="T7" fmla="*/ 2 h 93"/>
                  <a:gd name="T8" fmla="*/ 152 w 154"/>
                  <a:gd name="T9" fmla="*/ 8 h 93"/>
                  <a:gd name="T10" fmla="*/ 131 w 154"/>
                  <a:gd name="T11" fmla="*/ 20 h 93"/>
                  <a:gd name="T12" fmla="*/ 126 w 154"/>
                  <a:gd name="T13" fmla="*/ 18 h 93"/>
                  <a:gd name="T14" fmla="*/ 127 w 154"/>
                  <a:gd name="T15" fmla="*/ 13 h 93"/>
                  <a:gd name="T16" fmla="*/ 133 w 154"/>
                  <a:gd name="T17" fmla="*/ 14 h 93"/>
                  <a:gd name="T18" fmla="*/ 131 w 154"/>
                  <a:gd name="T19" fmla="*/ 20 h 93"/>
                  <a:gd name="T20" fmla="*/ 110 w 154"/>
                  <a:gd name="T21" fmla="*/ 32 h 93"/>
                  <a:gd name="T22" fmla="*/ 105 w 154"/>
                  <a:gd name="T23" fmla="*/ 30 h 93"/>
                  <a:gd name="T24" fmla="*/ 106 w 154"/>
                  <a:gd name="T25" fmla="*/ 25 h 93"/>
                  <a:gd name="T26" fmla="*/ 112 w 154"/>
                  <a:gd name="T27" fmla="*/ 26 h 93"/>
                  <a:gd name="T28" fmla="*/ 110 w 154"/>
                  <a:gd name="T29" fmla="*/ 32 h 93"/>
                  <a:gd name="T30" fmla="*/ 90 w 154"/>
                  <a:gd name="T31" fmla="*/ 44 h 93"/>
                  <a:gd name="T32" fmla="*/ 84 w 154"/>
                  <a:gd name="T33" fmla="*/ 42 h 93"/>
                  <a:gd name="T34" fmla="*/ 86 w 154"/>
                  <a:gd name="T35" fmla="*/ 37 h 93"/>
                  <a:gd name="T36" fmla="*/ 91 w 154"/>
                  <a:gd name="T37" fmla="*/ 38 h 93"/>
                  <a:gd name="T38" fmla="*/ 90 w 154"/>
                  <a:gd name="T39" fmla="*/ 44 h 93"/>
                  <a:gd name="T40" fmla="*/ 69 w 154"/>
                  <a:gd name="T41" fmla="*/ 56 h 93"/>
                  <a:gd name="T42" fmla="*/ 63 w 154"/>
                  <a:gd name="T43" fmla="*/ 54 h 93"/>
                  <a:gd name="T44" fmla="*/ 65 w 154"/>
                  <a:gd name="T45" fmla="*/ 49 h 93"/>
                  <a:gd name="T46" fmla="*/ 70 w 154"/>
                  <a:gd name="T47" fmla="*/ 50 h 93"/>
                  <a:gd name="T48" fmla="*/ 69 w 154"/>
                  <a:gd name="T49" fmla="*/ 56 h 93"/>
                  <a:gd name="T50" fmla="*/ 48 w 154"/>
                  <a:gd name="T51" fmla="*/ 68 h 93"/>
                  <a:gd name="T52" fmla="*/ 42 w 154"/>
                  <a:gd name="T53" fmla="*/ 66 h 93"/>
                  <a:gd name="T54" fmla="*/ 44 w 154"/>
                  <a:gd name="T55" fmla="*/ 61 h 93"/>
                  <a:gd name="T56" fmla="*/ 49 w 154"/>
                  <a:gd name="T57" fmla="*/ 62 h 93"/>
                  <a:gd name="T58" fmla="*/ 48 w 154"/>
                  <a:gd name="T59" fmla="*/ 68 h 93"/>
                  <a:gd name="T60" fmla="*/ 27 w 154"/>
                  <a:gd name="T61" fmla="*/ 80 h 93"/>
                  <a:gd name="T62" fmla="*/ 22 w 154"/>
                  <a:gd name="T63" fmla="*/ 78 h 93"/>
                  <a:gd name="T64" fmla="*/ 23 w 154"/>
                  <a:gd name="T65" fmla="*/ 73 h 93"/>
                  <a:gd name="T66" fmla="*/ 29 w 154"/>
                  <a:gd name="T67" fmla="*/ 74 h 93"/>
                  <a:gd name="T68" fmla="*/ 27 w 154"/>
                  <a:gd name="T69" fmla="*/ 80 h 93"/>
                  <a:gd name="T70" fmla="*/ 6 w 154"/>
                  <a:gd name="T71" fmla="*/ 92 h 93"/>
                  <a:gd name="T72" fmla="*/ 1 w 154"/>
                  <a:gd name="T73" fmla="*/ 90 h 93"/>
                  <a:gd name="T74" fmla="*/ 2 w 154"/>
                  <a:gd name="T75" fmla="*/ 85 h 93"/>
                  <a:gd name="T76" fmla="*/ 8 w 154"/>
                  <a:gd name="T77" fmla="*/ 86 h 93"/>
                  <a:gd name="T78" fmla="*/ 6 w 154"/>
                  <a:gd name="T79"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93">
                    <a:moveTo>
                      <a:pt x="152" y="8"/>
                    </a:moveTo>
                    <a:cubicBezTo>
                      <a:pt x="150" y="9"/>
                      <a:pt x="148" y="8"/>
                      <a:pt x="146" y="6"/>
                    </a:cubicBezTo>
                    <a:cubicBezTo>
                      <a:pt x="145" y="4"/>
                      <a:pt x="146" y="2"/>
                      <a:pt x="148" y="1"/>
                    </a:cubicBezTo>
                    <a:cubicBezTo>
                      <a:pt x="150" y="0"/>
                      <a:pt x="152" y="0"/>
                      <a:pt x="153" y="2"/>
                    </a:cubicBezTo>
                    <a:cubicBezTo>
                      <a:pt x="154" y="4"/>
                      <a:pt x="154" y="7"/>
                      <a:pt x="152" y="8"/>
                    </a:cubicBezTo>
                    <a:close/>
                    <a:moveTo>
                      <a:pt x="131" y="20"/>
                    </a:moveTo>
                    <a:cubicBezTo>
                      <a:pt x="129" y="21"/>
                      <a:pt x="127" y="20"/>
                      <a:pt x="126" y="18"/>
                    </a:cubicBezTo>
                    <a:cubicBezTo>
                      <a:pt x="125" y="16"/>
                      <a:pt x="125" y="14"/>
                      <a:pt x="127" y="13"/>
                    </a:cubicBezTo>
                    <a:cubicBezTo>
                      <a:pt x="129" y="12"/>
                      <a:pt x="131" y="12"/>
                      <a:pt x="133" y="14"/>
                    </a:cubicBezTo>
                    <a:cubicBezTo>
                      <a:pt x="134" y="16"/>
                      <a:pt x="133" y="19"/>
                      <a:pt x="131" y="20"/>
                    </a:cubicBezTo>
                    <a:close/>
                    <a:moveTo>
                      <a:pt x="110" y="32"/>
                    </a:moveTo>
                    <a:cubicBezTo>
                      <a:pt x="108" y="33"/>
                      <a:pt x="106" y="32"/>
                      <a:pt x="105" y="30"/>
                    </a:cubicBezTo>
                    <a:cubicBezTo>
                      <a:pt x="104" y="28"/>
                      <a:pt x="104" y="26"/>
                      <a:pt x="106" y="25"/>
                    </a:cubicBezTo>
                    <a:cubicBezTo>
                      <a:pt x="108" y="24"/>
                      <a:pt x="111" y="24"/>
                      <a:pt x="112" y="26"/>
                    </a:cubicBezTo>
                    <a:cubicBezTo>
                      <a:pt x="113" y="28"/>
                      <a:pt x="112" y="31"/>
                      <a:pt x="110" y="32"/>
                    </a:cubicBezTo>
                    <a:close/>
                    <a:moveTo>
                      <a:pt x="90" y="44"/>
                    </a:moveTo>
                    <a:cubicBezTo>
                      <a:pt x="88" y="45"/>
                      <a:pt x="85" y="44"/>
                      <a:pt x="84" y="42"/>
                    </a:cubicBezTo>
                    <a:cubicBezTo>
                      <a:pt x="83" y="40"/>
                      <a:pt x="84" y="38"/>
                      <a:pt x="86" y="37"/>
                    </a:cubicBezTo>
                    <a:cubicBezTo>
                      <a:pt x="87" y="36"/>
                      <a:pt x="90" y="36"/>
                      <a:pt x="91" y="38"/>
                    </a:cubicBezTo>
                    <a:cubicBezTo>
                      <a:pt x="92" y="40"/>
                      <a:pt x="91" y="43"/>
                      <a:pt x="90" y="44"/>
                    </a:cubicBezTo>
                    <a:close/>
                    <a:moveTo>
                      <a:pt x="69" y="56"/>
                    </a:moveTo>
                    <a:cubicBezTo>
                      <a:pt x="67" y="57"/>
                      <a:pt x="64" y="56"/>
                      <a:pt x="63" y="54"/>
                    </a:cubicBezTo>
                    <a:cubicBezTo>
                      <a:pt x="62" y="52"/>
                      <a:pt x="63" y="50"/>
                      <a:pt x="65" y="49"/>
                    </a:cubicBezTo>
                    <a:cubicBezTo>
                      <a:pt x="67" y="48"/>
                      <a:pt x="69" y="48"/>
                      <a:pt x="70" y="50"/>
                    </a:cubicBezTo>
                    <a:cubicBezTo>
                      <a:pt x="71" y="52"/>
                      <a:pt x="71" y="55"/>
                      <a:pt x="69" y="56"/>
                    </a:cubicBezTo>
                    <a:close/>
                    <a:moveTo>
                      <a:pt x="48" y="68"/>
                    </a:moveTo>
                    <a:cubicBezTo>
                      <a:pt x="46" y="69"/>
                      <a:pt x="44" y="68"/>
                      <a:pt x="42" y="66"/>
                    </a:cubicBezTo>
                    <a:cubicBezTo>
                      <a:pt x="41" y="64"/>
                      <a:pt x="42" y="62"/>
                      <a:pt x="44" y="61"/>
                    </a:cubicBezTo>
                    <a:cubicBezTo>
                      <a:pt x="46" y="60"/>
                      <a:pt x="48" y="60"/>
                      <a:pt x="49" y="62"/>
                    </a:cubicBezTo>
                    <a:cubicBezTo>
                      <a:pt x="51" y="64"/>
                      <a:pt x="50" y="67"/>
                      <a:pt x="48" y="68"/>
                    </a:cubicBezTo>
                    <a:close/>
                    <a:moveTo>
                      <a:pt x="27" y="80"/>
                    </a:moveTo>
                    <a:cubicBezTo>
                      <a:pt x="25" y="81"/>
                      <a:pt x="23" y="80"/>
                      <a:pt x="22" y="78"/>
                    </a:cubicBezTo>
                    <a:cubicBezTo>
                      <a:pt x="21" y="76"/>
                      <a:pt x="21" y="74"/>
                      <a:pt x="23" y="73"/>
                    </a:cubicBezTo>
                    <a:cubicBezTo>
                      <a:pt x="25" y="72"/>
                      <a:pt x="28" y="72"/>
                      <a:pt x="29" y="74"/>
                    </a:cubicBezTo>
                    <a:cubicBezTo>
                      <a:pt x="30" y="76"/>
                      <a:pt x="29" y="79"/>
                      <a:pt x="27" y="80"/>
                    </a:cubicBezTo>
                    <a:close/>
                    <a:moveTo>
                      <a:pt x="6" y="92"/>
                    </a:moveTo>
                    <a:cubicBezTo>
                      <a:pt x="4" y="93"/>
                      <a:pt x="2" y="92"/>
                      <a:pt x="1" y="90"/>
                    </a:cubicBezTo>
                    <a:cubicBezTo>
                      <a:pt x="0" y="88"/>
                      <a:pt x="0" y="86"/>
                      <a:pt x="2" y="85"/>
                    </a:cubicBezTo>
                    <a:cubicBezTo>
                      <a:pt x="4" y="84"/>
                      <a:pt x="7" y="84"/>
                      <a:pt x="8" y="86"/>
                    </a:cubicBezTo>
                    <a:cubicBezTo>
                      <a:pt x="9" y="88"/>
                      <a:pt x="8" y="91"/>
                      <a:pt x="6" y="92"/>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54" name="Freeform 69">
                <a:extLst>
                  <a:ext uri="{FF2B5EF4-FFF2-40B4-BE49-F238E27FC236}">
                    <a16:creationId xmlns:a16="http://schemas.microsoft.com/office/drawing/2014/main" id="{7BF52E74-1833-480A-97A3-7BC6F5671F1B}"/>
                  </a:ext>
                </a:extLst>
              </p:cNvPr>
              <p:cNvSpPr>
                <a:spLocks/>
              </p:cNvSpPr>
              <p:nvPr/>
            </p:nvSpPr>
            <p:spPr bwMode="auto">
              <a:xfrm>
                <a:off x="9104313" y="3001963"/>
                <a:ext cx="55563" cy="63500"/>
              </a:xfrm>
              <a:custGeom>
                <a:avLst/>
                <a:gdLst>
                  <a:gd name="T0" fmla="*/ 0 w 18"/>
                  <a:gd name="T1" fmla="*/ 16 h 20"/>
                  <a:gd name="T2" fmla="*/ 4 w 18"/>
                  <a:gd name="T3" fmla="*/ 2 h 20"/>
                  <a:gd name="T4" fmla="*/ 7 w 18"/>
                  <a:gd name="T5" fmla="*/ 0 h 20"/>
                  <a:gd name="T6" fmla="*/ 10 w 18"/>
                  <a:gd name="T7" fmla="*/ 4 h 20"/>
                  <a:gd name="T8" fmla="*/ 7 w 18"/>
                  <a:gd name="T9" fmla="*/ 12 h 20"/>
                  <a:gd name="T10" fmla="*/ 15 w 18"/>
                  <a:gd name="T11" fmla="*/ 14 h 20"/>
                  <a:gd name="T12" fmla="*/ 17 w 18"/>
                  <a:gd name="T13" fmla="*/ 17 h 20"/>
                  <a:gd name="T14" fmla="*/ 14 w 18"/>
                  <a:gd name="T15" fmla="*/ 20 h 20"/>
                  <a:gd name="T16" fmla="*/ 0 w 18"/>
                  <a:gd name="T1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0" y="16"/>
                    </a:moveTo>
                    <a:cubicBezTo>
                      <a:pt x="4" y="2"/>
                      <a:pt x="4" y="2"/>
                      <a:pt x="4" y="2"/>
                    </a:cubicBezTo>
                    <a:cubicBezTo>
                      <a:pt x="4" y="1"/>
                      <a:pt x="6" y="0"/>
                      <a:pt x="7" y="0"/>
                    </a:cubicBezTo>
                    <a:cubicBezTo>
                      <a:pt x="9" y="1"/>
                      <a:pt x="10" y="2"/>
                      <a:pt x="10" y="4"/>
                    </a:cubicBezTo>
                    <a:cubicBezTo>
                      <a:pt x="7" y="12"/>
                      <a:pt x="7" y="12"/>
                      <a:pt x="7" y="12"/>
                    </a:cubicBezTo>
                    <a:cubicBezTo>
                      <a:pt x="15" y="14"/>
                      <a:pt x="15" y="14"/>
                      <a:pt x="15" y="14"/>
                    </a:cubicBezTo>
                    <a:cubicBezTo>
                      <a:pt x="17" y="14"/>
                      <a:pt x="18" y="16"/>
                      <a:pt x="17" y="17"/>
                    </a:cubicBezTo>
                    <a:cubicBezTo>
                      <a:pt x="17" y="19"/>
                      <a:pt x="15" y="20"/>
                      <a:pt x="14" y="20"/>
                    </a:cubicBezTo>
                    <a:lnTo>
                      <a:pt x="0"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6" name="Group 35">
              <a:extLst>
                <a:ext uri="{FF2B5EF4-FFF2-40B4-BE49-F238E27FC236}">
                  <a16:creationId xmlns:a16="http://schemas.microsoft.com/office/drawing/2014/main" id="{ACEE4920-43FA-4C9E-8CD7-DAEADF8EC0B7}"/>
                </a:ext>
                <a:ext uri="{C183D7F6-B498-43B3-948B-1728B52AA6E4}">
                  <adec:decorative xmlns:adec="http://schemas.microsoft.com/office/drawing/2017/decorative" val="1"/>
                </a:ext>
              </a:extLst>
            </p:cNvPr>
            <p:cNvGrpSpPr/>
            <p:nvPr/>
          </p:nvGrpSpPr>
          <p:grpSpPr>
            <a:xfrm>
              <a:off x="9604027" y="3966936"/>
              <a:ext cx="554040" cy="339272"/>
              <a:chOff x="9163051" y="4008438"/>
              <a:chExt cx="565150" cy="346075"/>
            </a:xfrm>
          </p:grpSpPr>
          <p:sp>
            <p:nvSpPr>
              <p:cNvPr id="51" name="Freeform 70">
                <a:extLst>
                  <a:ext uri="{FF2B5EF4-FFF2-40B4-BE49-F238E27FC236}">
                    <a16:creationId xmlns:a16="http://schemas.microsoft.com/office/drawing/2014/main" id="{599DA16F-90D2-4783-85C4-22926FA3E44C}"/>
                  </a:ext>
                </a:extLst>
              </p:cNvPr>
              <p:cNvSpPr>
                <a:spLocks noEditPoints="1"/>
              </p:cNvSpPr>
              <p:nvPr/>
            </p:nvSpPr>
            <p:spPr bwMode="auto">
              <a:xfrm>
                <a:off x="9236076" y="4059238"/>
                <a:ext cx="492125" cy="295275"/>
              </a:xfrm>
              <a:custGeom>
                <a:avLst/>
                <a:gdLst>
                  <a:gd name="T0" fmla="*/ 7 w 155"/>
                  <a:gd name="T1" fmla="*/ 1 h 93"/>
                  <a:gd name="T2" fmla="*/ 8 w 155"/>
                  <a:gd name="T3" fmla="*/ 7 h 93"/>
                  <a:gd name="T4" fmla="*/ 3 w 155"/>
                  <a:gd name="T5" fmla="*/ 8 h 93"/>
                  <a:gd name="T6" fmla="*/ 1 w 155"/>
                  <a:gd name="T7" fmla="*/ 3 h 93"/>
                  <a:gd name="T8" fmla="*/ 7 w 155"/>
                  <a:gd name="T9" fmla="*/ 1 h 93"/>
                  <a:gd name="T10" fmla="*/ 27 w 155"/>
                  <a:gd name="T11" fmla="*/ 13 h 93"/>
                  <a:gd name="T12" fmla="*/ 29 w 155"/>
                  <a:gd name="T13" fmla="*/ 19 h 93"/>
                  <a:gd name="T14" fmla="*/ 23 w 155"/>
                  <a:gd name="T15" fmla="*/ 20 h 93"/>
                  <a:gd name="T16" fmla="*/ 22 w 155"/>
                  <a:gd name="T17" fmla="*/ 15 h 93"/>
                  <a:gd name="T18" fmla="*/ 27 w 155"/>
                  <a:gd name="T19" fmla="*/ 13 h 93"/>
                  <a:gd name="T20" fmla="*/ 48 w 155"/>
                  <a:gd name="T21" fmla="*/ 25 h 93"/>
                  <a:gd name="T22" fmla="*/ 50 w 155"/>
                  <a:gd name="T23" fmla="*/ 31 h 93"/>
                  <a:gd name="T24" fmla="*/ 44 w 155"/>
                  <a:gd name="T25" fmla="*/ 32 h 93"/>
                  <a:gd name="T26" fmla="*/ 43 w 155"/>
                  <a:gd name="T27" fmla="*/ 27 h 93"/>
                  <a:gd name="T28" fmla="*/ 48 w 155"/>
                  <a:gd name="T29" fmla="*/ 25 h 93"/>
                  <a:gd name="T30" fmla="*/ 69 w 155"/>
                  <a:gd name="T31" fmla="*/ 37 h 93"/>
                  <a:gd name="T32" fmla="*/ 70 w 155"/>
                  <a:gd name="T33" fmla="*/ 43 h 93"/>
                  <a:gd name="T34" fmla="*/ 65 w 155"/>
                  <a:gd name="T35" fmla="*/ 44 h 93"/>
                  <a:gd name="T36" fmla="*/ 63 w 155"/>
                  <a:gd name="T37" fmla="*/ 39 h 93"/>
                  <a:gd name="T38" fmla="*/ 69 w 155"/>
                  <a:gd name="T39" fmla="*/ 37 h 93"/>
                  <a:gd name="T40" fmla="*/ 90 w 155"/>
                  <a:gd name="T41" fmla="*/ 49 h 93"/>
                  <a:gd name="T42" fmla="*/ 91 w 155"/>
                  <a:gd name="T43" fmla="*/ 55 h 93"/>
                  <a:gd name="T44" fmla="*/ 86 w 155"/>
                  <a:gd name="T45" fmla="*/ 56 h 93"/>
                  <a:gd name="T46" fmla="*/ 84 w 155"/>
                  <a:gd name="T47" fmla="*/ 51 h 93"/>
                  <a:gd name="T48" fmla="*/ 90 w 155"/>
                  <a:gd name="T49" fmla="*/ 49 h 93"/>
                  <a:gd name="T50" fmla="*/ 111 w 155"/>
                  <a:gd name="T51" fmla="*/ 61 h 93"/>
                  <a:gd name="T52" fmla="*/ 112 w 155"/>
                  <a:gd name="T53" fmla="*/ 67 h 93"/>
                  <a:gd name="T54" fmla="*/ 107 w 155"/>
                  <a:gd name="T55" fmla="*/ 68 h 93"/>
                  <a:gd name="T56" fmla="*/ 105 w 155"/>
                  <a:gd name="T57" fmla="*/ 63 h 93"/>
                  <a:gd name="T58" fmla="*/ 111 w 155"/>
                  <a:gd name="T59" fmla="*/ 61 h 93"/>
                  <a:gd name="T60" fmla="*/ 131 w 155"/>
                  <a:gd name="T61" fmla="*/ 73 h 93"/>
                  <a:gd name="T62" fmla="*/ 133 w 155"/>
                  <a:gd name="T63" fmla="*/ 79 h 93"/>
                  <a:gd name="T64" fmla="*/ 127 w 155"/>
                  <a:gd name="T65" fmla="*/ 80 h 93"/>
                  <a:gd name="T66" fmla="*/ 126 w 155"/>
                  <a:gd name="T67" fmla="*/ 75 h 93"/>
                  <a:gd name="T68" fmla="*/ 131 w 155"/>
                  <a:gd name="T69" fmla="*/ 73 h 93"/>
                  <a:gd name="T70" fmla="*/ 152 w 155"/>
                  <a:gd name="T71" fmla="*/ 85 h 93"/>
                  <a:gd name="T72" fmla="*/ 154 w 155"/>
                  <a:gd name="T73" fmla="*/ 91 h 93"/>
                  <a:gd name="T74" fmla="*/ 148 w 155"/>
                  <a:gd name="T75" fmla="*/ 92 h 93"/>
                  <a:gd name="T76" fmla="*/ 147 w 155"/>
                  <a:gd name="T77" fmla="*/ 87 h 93"/>
                  <a:gd name="T78" fmla="*/ 152 w 155"/>
                  <a:gd name="T79"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93">
                    <a:moveTo>
                      <a:pt x="7" y="1"/>
                    </a:moveTo>
                    <a:cubicBezTo>
                      <a:pt x="9" y="2"/>
                      <a:pt x="9" y="5"/>
                      <a:pt x="8" y="7"/>
                    </a:cubicBezTo>
                    <a:cubicBezTo>
                      <a:pt x="7" y="9"/>
                      <a:pt x="5" y="9"/>
                      <a:pt x="3" y="8"/>
                    </a:cubicBezTo>
                    <a:cubicBezTo>
                      <a:pt x="1" y="7"/>
                      <a:pt x="0" y="5"/>
                      <a:pt x="1" y="3"/>
                    </a:cubicBezTo>
                    <a:cubicBezTo>
                      <a:pt x="2" y="1"/>
                      <a:pt x="5" y="0"/>
                      <a:pt x="7" y="1"/>
                    </a:cubicBezTo>
                    <a:close/>
                    <a:moveTo>
                      <a:pt x="27" y="13"/>
                    </a:moveTo>
                    <a:cubicBezTo>
                      <a:pt x="29" y="14"/>
                      <a:pt x="30" y="17"/>
                      <a:pt x="29" y="19"/>
                    </a:cubicBezTo>
                    <a:cubicBezTo>
                      <a:pt x="28" y="21"/>
                      <a:pt x="25" y="21"/>
                      <a:pt x="23" y="20"/>
                    </a:cubicBezTo>
                    <a:cubicBezTo>
                      <a:pt x="21" y="19"/>
                      <a:pt x="21" y="17"/>
                      <a:pt x="22" y="15"/>
                    </a:cubicBezTo>
                    <a:cubicBezTo>
                      <a:pt x="23" y="13"/>
                      <a:pt x="25" y="12"/>
                      <a:pt x="27" y="13"/>
                    </a:cubicBezTo>
                    <a:close/>
                    <a:moveTo>
                      <a:pt x="48" y="25"/>
                    </a:moveTo>
                    <a:cubicBezTo>
                      <a:pt x="50" y="26"/>
                      <a:pt x="51" y="29"/>
                      <a:pt x="50" y="31"/>
                    </a:cubicBezTo>
                    <a:cubicBezTo>
                      <a:pt x="49" y="33"/>
                      <a:pt x="46" y="33"/>
                      <a:pt x="44" y="32"/>
                    </a:cubicBezTo>
                    <a:cubicBezTo>
                      <a:pt x="42" y="31"/>
                      <a:pt x="42" y="29"/>
                      <a:pt x="43" y="27"/>
                    </a:cubicBezTo>
                    <a:cubicBezTo>
                      <a:pt x="44" y="25"/>
                      <a:pt x="46" y="24"/>
                      <a:pt x="48" y="25"/>
                    </a:cubicBezTo>
                    <a:close/>
                    <a:moveTo>
                      <a:pt x="69" y="37"/>
                    </a:moveTo>
                    <a:cubicBezTo>
                      <a:pt x="71" y="38"/>
                      <a:pt x="72" y="41"/>
                      <a:pt x="70" y="43"/>
                    </a:cubicBezTo>
                    <a:cubicBezTo>
                      <a:pt x="69" y="45"/>
                      <a:pt x="67" y="45"/>
                      <a:pt x="65" y="44"/>
                    </a:cubicBezTo>
                    <a:cubicBezTo>
                      <a:pt x="63" y="43"/>
                      <a:pt x="62" y="41"/>
                      <a:pt x="63" y="39"/>
                    </a:cubicBezTo>
                    <a:cubicBezTo>
                      <a:pt x="65" y="37"/>
                      <a:pt x="67" y="36"/>
                      <a:pt x="69" y="37"/>
                    </a:cubicBezTo>
                    <a:close/>
                    <a:moveTo>
                      <a:pt x="90" y="49"/>
                    </a:moveTo>
                    <a:cubicBezTo>
                      <a:pt x="92" y="50"/>
                      <a:pt x="92" y="53"/>
                      <a:pt x="91" y="55"/>
                    </a:cubicBezTo>
                    <a:cubicBezTo>
                      <a:pt x="90" y="57"/>
                      <a:pt x="88" y="57"/>
                      <a:pt x="86" y="56"/>
                    </a:cubicBezTo>
                    <a:cubicBezTo>
                      <a:pt x="84" y="55"/>
                      <a:pt x="83" y="53"/>
                      <a:pt x="84" y="51"/>
                    </a:cubicBezTo>
                    <a:cubicBezTo>
                      <a:pt x="85" y="49"/>
                      <a:pt x="88" y="48"/>
                      <a:pt x="90" y="49"/>
                    </a:cubicBezTo>
                    <a:close/>
                    <a:moveTo>
                      <a:pt x="111" y="61"/>
                    </a:moveTo>
                    <a:cubicBezTo>
                      <a:pt x="112" y="62"/>
                      <a:pt x="113" y="65"/>
                      <a:pt x="112" y="67"/>
                    </a:cubicBezTo>
                    <a:cubicBezTo>
                      <a:pt x="111" y="69"/>
                      <a:pt x="108" y="69"/>
                      <a:pt x="107" y="68"/>
                    </a:cubicBezTo>
                    <a:cubicBezTo>
                      <a:pt x="105" y="67"/>
                      <a:pt x="104" y="65"/>
                      <a:pt x="105" y="63"/>
                    </a:cubicBezTo>
                    <a:cubicBezTo>
                      <a:pt x="106" y="61"/>
                      <a:pt x="109" y="60"/>
                      <a:pt x="111" y="61"/>
                    </a:cubicBezTo>
                    <a:close/>
                    <a:moveTo>
                      <a:pt x="131" y="73"/>
                    </a:moveTo>
                    <a:cubicBezTo>
                      <a:pt x="133" y="74"/>
                      <a:pt x="134" y="77"/>
                      <a:pt x="133" y="79"/>
                    </a:cubicBezTo>
                    <a:cubicBezTo>
                      <a:pt x="132" y="81"/>
                      <a:pt x="129" y="81"/>
                      <a:pt x="127" y="80"/>
                    </a:cubicBezTo>
                    <a:cubicBezTo>
                      <a:pt x="125" y="79"/>
                      <a:pt x="125" y="77"/>
                      <a:pt x="126" y="75"/>
                    </a:cubicBezTo>
                    <a:cubicBezTo>
                      <a:pt x="127" y="73"/>
                      <a:pt x="129" y="72"/>
                      <a:pt x="131" y="73"/>
                    </a:cubicBezTo>
                    <a:close/>
                    <a:moveTo>
                      <a:pt x="152" y="85"/>
                    </a:moveTo>
                    <a:cubicBezTo>
                      <a:pt x="154" y="86"/>
                      <a:pt x="155" y="89"/>
                      <a:pt x="154" y="91"/>
                    </a:cubicBezTo>
                    <a:cubicBezTo>
                      <a:pt x="152" y="93"/>
                      <a:pt x="150" y="93"/>
                      <a:pt x="148" y="92"/>
                    </a:cubicBezTo>
                    <a:cubicBezTo>
                      <a:pt x="146" y="91"/>
                      <a:pt x="146" y="89"/>
                      <a:pt x="147" y="87"/>
                    </a:cubicBezTo>
                    <a:cubicBezTo>
                      <a:pt x="148" y="85"/>
                      <a:pt x="150" y="84"/>
                      <a:pt x="152"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52" name="Freeform 71">
                <a:extLst>
                  <a:ext uri="{FF2B5EF4-FFF2-40B4-BE49-F238E27FC236}">
                    <a16:creationId xmlns:a16="http://schemas.microsoft.com/office/drawing/2014/main" id="{BA48C31A-C93F-4045-9704-627B7975754E}"/>
                  </a:ext>
                </a:extLst>
              </p:cNvPr>
              <p:cNvSpPr>
                <a:spLocks/>
              </p:cNvSpPr>
              <p:nvPr/>
            </p:nvSpPr>
            <p:spPr bwMode="auto">
              <a:xfrm>
                <a:off x="9163051" y="4008438"/>
                <a:ext cx="53975" cy="66675"/>
              </a:xfrm>
              <a:custGeom>
                <a:avLst/>
                <a:gdLst>
                  <a:gd name="T0" fmla="*/ 0 w 17"/>
                  <a:gd name="T1" fmla="*/ 4 h 21"/>
                  <a:gd name="T2" fmla="*/ 13 w 17"/>
                  <a:gd name="T3" fmla="*/ 1 h 21"/>
                  <a:gd name="T4" fmla="*/ 17 w 17"/>
                  <a:gd name="T5" fmla="*/ 3 h 21"/>
                  <a:gd name="T6" fmla="*/ 15 w 17"/>
                  <a:gd name="T7" fmla="*/ 7 h 21"/>
                  <a:gd name="T8" fmla="*/ 7 w 17"/>
                  <a:gd name="T9" fmla="*/ 9 h 21"/>
                  <a:gd name="T10" fmla="*/ 9 w 17"/>
                  <a:gd name="T11" fmla="*/ 17 h 21"/>
                  <a:gd name="T12" fmla="*/ 7 w 17"/>
                  <a:gd name="T13" fmla="*/ 20 h 21"/>
                  <a:gd name="T14" fmla="*/ 3 w 17"/>
                  <a:gd name="T15" fmla="*/ 18 h 21"/>
                  <a:gd name="T16" fmla="*/ 0 w 17"/>
                  <a:gd name="T1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1">
                    <a:moveTo>
                      <a:pt x="0" y="4"/>
                    </a:moveTo>
                    <a:cubicBezTo>
                      <a:pt x="13" y="1"/>
                      <a:pt x="13" y="1"/>
                      <a:pt x="13" y="1"/>
                    </a:cubicBezTo>
                    <a:cubicBezTo>
                      <a:pt x="15" y="0"/>
                      <a:pt x="16" y="1"/>
                      <a:pt x="17" y="3"/>
                    </a:cubicBezTo>
                    <a:cubicBezTo>
                      <a:pt x="17" y="5"/>
                      <a:pt x="16" y="6"/>
                      <a:pt x="15" y="7"/>
                    </a:cubicBezTo>
                    <a:cubicBezTo>
                      <a:pt x="7" y="9"/>
                      <a:pt x="7" y="9"/>
                      <a:pt x="7" y="9"/>
                    </a:cubicBezTo>
                    <a:cubicBezTo>
                      <a:pt x="9" y="17"/>
                      <a:pt x="9" y="17"/>
                      <a:pt x="9" y="17"/>
                    </a:cubicBezTo>
                    <a:cubicBezTo>
                      <a:pt x="9" y="18"/>
                      <a:pt x="8" y="20"/>
                      <a:pt x="7" y="20"/>
                    </a:cubicBezTo>
                    <a:cubicBezTo>
                      <a:pt x="5" y="21"/>
                      <a:pt x="4" y="20"/>
                      <a:pt x="3" y="18"/>
                    </a:cubicBezTo>
                    <a:lnTo>
                      <a:pt x="0" y="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A92F3562-173D-4CC9-8223-15F154DB3682}"/>
                </a:ext>
                <a:ext uri="{C183D7F6-B498-43B3-948B-1728B52AA6E4}">
                  <adec:decorative xmlns:adec="http://schemas.microsoft.com/office/drawing/2017/decorative" val="1"/>
                </a:ext>
              </a:extLst>
            </p:cNvPr>
            <p:cNvGrpSpPr/>
            <p:nvPr/>
          </p:nvGrpSpPr>
          <p:grpSpPr>
            <a:xfrm>
              <a:off x="9555782" y="4075876"/>
              <a:ext cx="552485" cy="339272"/>
              <a:chOff x="9113838" y="4119563"/>
              <a:chExt cx="563563" cy="346075"/>
            </a:xfrm>
          </p:grpSpPr>
          <p:sp>
            <p:nvSpPr>
              <p:cNvPr id="49" name="Freeform 72">
                <a:extLst>
                  <a:ext uri="{FF2B5EF4-FFF2-40B4-BE49-F238E27FC236}">
                    <a16:creationId xmlns:a16="http://schemas.microsoft.com/office/drawing/2014/main" id="{8F013345-7826-49F4-B324-C6F2584B0922}"/>
                  </a:ext>
                </a:extLst>
              </p:cNvPr>
              <p:cNvSpPr>
                <a:spLocks noEditPoints="1"/>
              </p:cNvSpPr>
              <p:nvPr/>
            </p:nvSpPr>
            <p:spPr bwMode="auto">
              <a:xfrm>
                <a:off x="9113838" y="4119563"/>
                <a:ext cx="490538" cy="298450"/>
              </a:xfrm>
              <a:custGeom>
                <a:avLst/>
                <a:gdLst>
                  <a:gd name="T0" fmla="*/ 7 w 155"/>
                  <a:gd name="T1" fmla="*/ 2 h 94"/>
                  <a:gd name="T2" fmla="*/ 8 w 155"/>
                  <a:gd name="T3" fmla="*/ 7 h 94"/>
                  <a:gd name="T4" fmla="*/ 3 w 155"/>
                  <a:gd name="T5" fmla="*/ 8 h 94"/>
                  <a:gd name="T6" fmla="*/ 1 w 155"/>
                  <a:gd name="T7" fmla="*/ 3 h 94"/>
                  <a:gd name="T8" fmla="*/ 7 w 155"/>
                  <a:gd name="T9" fmla="*/ 2 h 94"/>
                  <a:gd name="T10" fmla="*/ 28 w 155"/>
                  <a:gd name="T11" fmla="*/ 14 h 94"/>
                  <a:gd name="T12" fmla="*/ 29 w 155"/>
                  <a:gd name="T13" fmla="*/ 19 h 94"/>
                  <a:gd name="T14" fmla="*/ 24 w 155"/>
                  <a:gd name="T15" fmla="*/ 20 h 94"/>
                  <a:gd name="T16" fmla="*/ 22 w 155"/>
                  <a:gd name="T17" fmla="*/ 15 h 94"/>
                  <a:gd name="T18" fmla="*/ 28 w 155"/>
                  <a:gd name="T19" fmla="*/ 14 h 94"/>
                  <a:gd name="T20" fmla="*/ 48 w 155"/>
                  <a:gd name="T21" fmla="*/ 26 h 94"/>
                  <a:gd name="T22" fmla="*/ 50 w 155"/>
                  <a:gd name="T23" fmla="*/ 31 h 94"/>
                  <a:gd name="T24" fmla="*/ 44 w 155"/>
                  <a:gd name="T25" fmla="*/ 32 h 94"/>
                  <a:gd name="T26" fmla="*/ 43 w 155"/>
                  <a:gd name="T27" fmla="*/ 27 h 94"/>
                  <a:gd name="T28" fmla="*/ 48 w 155"/>
                  <a:gd name="T29" fmla="*/ 26 h 94"/>
                  <a:gd name="T30" fmla="*/ 69 w 155"/>
                  <a:gd name="T31" fmla="*/ 38 h 94"/>
                  <a:gd name="T32" fmla="*/ 71 w 155"/>
                  <a:gd name="T33" fmla="*/ 43 h 94"/>
                  <a:gd name="T34" fmla="*/ 65 w 155"/>
                  <a:gd name="T35" fmla="*/ 44 h 94"/>
                  <a:gd name="T36" fmla="*/ 64 w 155"/>
                  <a:gd name="T37" fmla="*/ 39 h 94"/>
                  <a:gd name="T38" fmla="*/ 69 w 155"/>
                  <a:gd name="T39" fmla="*/ 38 h 94"/>
                  <a:gd name="T40" fmla="*/ 90 w 155"/>
                  <a:gd name="T41" fmla="*/ 50 h 94"/>
                  <a:gd name="T42" fmla="*/ 91 w 155"/>
                  <a:gd name="T43" fmla="*/ 55 h 94"/>
                  <a:gd name="T44" fmla="*/ 86 w 155"/>
                  <a:gd name="T45" fmla="*/ 56 h 94"/>
                  <a:gd name="T46" fmla="*/ 84 w 155"/>
                  <a:gd name="T47" fmla="*/ 51 h 94"/>
                  <a:gd name="T48" fmla="*/ 90 w 155"/>
                  <a:gd name="T49" fmla="*/ 50 h 94"/>
                  <a:gd name="T50" fmla="*/ 111 w 155"/>
                  <a:gd name="T51" fmla="*/ 62 h 94"/>
                  <a:gd name="T52" fmla="*/ 112 w 155"/>
                  <a:gd name="T53" fmla="*/ 67 h 94"/>
                  <a:gd name="T54" fmla="*/ 107 w 155"/>
                  <a:gd name="T55" fmla="*/ 68 h 94"/>
                  <a:gd name="T56" fmla="*/ 105 w 155"/>
                  <a:gd name="T57" fmla="*/ 63 h 94"/>
                  <a:gd name="T58" fmla="*/ 111 w 155"/>
                  <a:gd name="T59" fmla="*/ 62 h 94"/>
                  <a:gd name="T60" fmla="*/ 131 w 155"/>
                  <a:gd name="T61" fmla="*/ 74 h 94"/>
                  <a:gd name="T62" fmla="*/ 133 w 155"/>
                  <a:gd name="T63" fmla="*/ 79 h 94"/>
                  <a:gd name="T64" fmla="*/ 127 w 155"/>
                  <a:gd name="T65" fmla="*/ 80 h 94"/>
                  <a:gd name="T66" fmla="*/ 126 w 155"/>
                  <a:gd name="T67" fmla="*/ 75 h 94"/>
                  <a:gd name="T68" fmla="*/ 131 w 155"/>
                  <a:gd name="T69" fmla="*/ 74 h 94"/>
                  <a:gd name="T70" fmla="*/ 152 w 155"/>
                  <a:gd name="T71" fmla="*/ 86 h 94"/>
                  <a:gd name="T72" fmla="*/ 154 w 155"/>
                  <a:gd name="T73" fmla="*/ 91 h 94"/>
                  <a:gd name="T74" fmla="*/ 148 w 155"/>
                  <a:gd name="T75" fmla="*/ 92 h 94"/>
                  <a:gd name="T76" fmla="*/ 147 w 155"/>
                  <a:gd name="T77" fmla="*/ 87 h 94"/>
                  <a:gd name="T78" fmla="*/ 152 w 155"/>
                  <a:gd name="T79" fmla="*/ 8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94">
                    <a:moveTo>
                      <a:pt x="7" y="2"/>
                    </a:moveTo>
                    <a:cubicBezTo>
                      <a:pt x="9" y="3"/>
                      <a:pt x="9" y="5"/>
                      <a:pt x="8" y="7"/>
                    </a:cubicBezTo>
                    <a:cubicBezTo>
                      <a:pt x="7" y="9"/>
                      <a:pt x="5" y="10"/>
                      <a:pt x="3" y="8"/>
                    </a:cubicBezTo>
                    <a:cubicBezTo>
                      <a:pt x="1" y="7"/>
                      <a:pt x="0" y="5"/>
                      <a:pt x="1" y="3"/>
                    </a:cubicBezTo>
                    <a:cubicBezTo>
                      <a:pt x="2" y="1"/>
                      <a:pt x="5" y="0"/>
                      <a:pt x="7" y="2"/>
                    </a:cubicBezTo>
                    <a:close/>
                    <a:moveTo>
                      <a:pt x="28" y="14"/>
                    </a:moveTo>
                    <a:cubicBezTo>
                      <a:pt x="29" y="15"/>
                      <a:pt x="30" y="17"/>
                      <a:pt x="29" y="19"/>
                    </a:cubicBezTo>
                    <a:cubicBezTo>
                      <a:pt x="28" y="21"/>
                      <a:pt x="25" y="22"/>
                      <a:pt x="24" y="20"/>
                    </a:cubicBezTo>
                    <a:cubicBezTo>
                      <a:pt x="22" y="19"/>
                      <a:pt x="21" y="17"/>
                      <a:pt x="22" y="15"/>
                    </a:cubicBezTo>
                    <a:cubicBezTo>
                      <a:pt x="23" y="13"/>
                      <a:pt x="26" y="12"/>
                      <a:pt x="28" y="14"/>
                    </a:cubicBezTo>
                    <a:close/>
                    <a:moveTo>
                      <a:pt x="48" y="26"/>
                    </a:moveTo>
                    <a:cubicBezTo>
                      <a:pt x="50" y="27"/>
                      <a:pt x="51" y="29"/>
                      <a:pt x="50" y="31"/>
                    </a:cubicBezTo>
                    <a:cubicBezTo>
                      <a:pt x="49" y="33"/>
                      <a:pt x="46" y="34"/>
                      <a:pt x="44" y="32"/>
                    </a:cubicBezTo>
                    <a:cubicBezTo>
                      <a:pt x="42" y="31"/>
                      <a:pt x="42" y="29"/>
                      <a:pt x="43" y="27"/>
                    </a:cubicBezTo>
                    <a:cubicBezTo>
                      <a:pt x="44" y="25"/>
                      <a:pt x="46" y="24"/>
                      <a:pt x="48" y="26"/>
                    </a:cubicBezTo>
                    <a:close/>
                    <a:moveTo>
                      <a:pt x="69" y="38"/>
                    </a:moveTo>
                    <a:cubicBezTo>
                      <a:pt x="71" y="39"/>
                      <a:pt x="72" y="41"/>
                      <a:pt x="71" y="43"/>
                    </a:cubicBezTo>
                    <a:cubicBezTo>
                      <a:pt x="69" y="45"/>
                      <a:pt x="67" y="46"/>
                      <a:pt x="65" y="44"/>
                    </a:cubicBezTo>
                    <a:cubicBezTo>
                      <a:pt x="63" y="43"/>
                      <a:pt x="63" y="41"/>
                      <a:pt x="64" y="39"/>
                    </a:cubicBezTo>
                    <a:cubicBezTo>
                      <a:pt x="65" y="37"/>
                      <a:pt x="67" y="36"/>
                      <a:pt x="69" y="38"/>
                    </a:cubicBezTo>
                    <a:close/>
                    <a:moveTo>
                      <a:pt x="90" y="50"/>
                    </a:moveTo>
                    <a:cubicBezTo>
                      <a:pt x="92" y="51"/>
                      <a:pt x="92" y="53"/>
                      <a:pt x="91" y="55"/>
                    </a:cubicBezTo>
                    <a:cubicBezTo>
                      <a:pt x="90" y="57"/>
                      <a:pt x="88" y="58"/>
                      <a:pt x="86" y="56"/>
                    </a:cubicBezTo>
                    <a:cubicBezTo>
                      <a:pt x="84" y="55"/>
                      <a:pt x="83" y="53"/>
                      <a:pt x="84" y="51"/>
                    </a:cubicBezTo>
                    <a:cubicBezTo>
                      <a:pt x="86" y="49"/>
                      <a:pt x="88" y="48"/>
                      <a:pt x="90" y="50"/>
                    </a:cubicBezTo>
                    <a:close/>
                    <a:moveTo>
                      <a:pt x="111" y="62"/>
                    </a:moveTo>
                    <a:cubicBezTo>
                      <a:pt x="113" y="63"/>
                      <a:pt x="113" y="65"/>
                      <a:pt x="112" y="67"/>
                    </a:cubicBezTo>
                    <a:cubicBezTo>
                      <a:pt x="111" y="69"/>
                      <a:pt x="109" y="70"/>
                      <a:pt x="107" y="68"/>
                    </a:cubicBezTo>
                    <a:cubicBezTo>
                      <a:pt x="105" y="67"/>
                      <a:pt x="104" y="65"/>
                      <a:pt x="105" y="63"/>
                    </a:cubicBezTo>
                    <a:cubicBezTo>
                      <a:pt x="106" y="61"/>
                      <a:pt x="109" y="60"/>
                      <a:pt x="111" y="62"/>
                    </a:cubicBezTo>
                    <a:close/>
                    <a:moveTo>
                      <a:pt x="131" y="74"/>
                    </a:moveTo>
                    <a:cubicBezTo>
                      <a:pt x="133" y="75"/>
                      <a:pt x="134" y="77"/>
                      <a:pt x="133" y="79"/>
                    </a:cubicBezTo>
                    <a:cubicBezTo>
                      <a:pt x="132" y="81"/>
                      <a:pt x="129" y="82"/>
                      <a:pt x="127" y="80"/>
                    </a:cubicBezTo>
                    <a:cubicBezTo>
                      <a:pt x="126" y="79"/>
                      <a:pt x="125" y="77"/>
                      <a:pt x="126" y="75"/>
                    </a:cubicBezTo>
                    <a:cubicBezTo>
                      <a:pt x="127" y="73"/>
                      <a:pt x="130" y="72"/>
                      <a:pt x="131" y="74"/>
                    </a:cubicBezTo>
                    <a:close/>
                    <a:moveTo>
                      <a:pt x="152" y="86"/>
                    </a:moveTo>
                    <a:cubicBezTo>
                      <a:pt x="154" y="87"/>
                      <a:pt x="155" y="89"/>
                      <a:pt x="154" y="91"/>
                    </a:cubicBezTo>
                    <a:cubicBezTo>
                      <a:pt x="153" y="93"/>
                      <a:pt x="150" y="94"/>
                      <a:pt x="148" y="92"/>
                    </a:cubicBezTo>
                    <a:cubicBezTo>
                      <a:pt x="146" y="91"/>
                      <a:pt x="146" y="89"/>
                      <a:pt x="147" y="87"/>
                    </a:cubicBezTo>
                    <a:cubicBezTo>
                      <a:pt x="148" y="85"/>
                      <a:pt x="150" y="84"/>
                      <a:pt x="152" y="8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50" name="Freeform 73">
                <a:extLst>
                  <a:ext uri="{FF2B5EF4-FFF2-40B4-BE49-F238E27FC236}">
                    <a16:creationId xmlns:a16="http://schemas.microsoft.com/office/drawing/2014/main" id="{7FF06597-5491-4A7B-B649-297808EA8ECB}"/>
                  </a:ext>
                </a:extLst>
              </p:cNvPr>
              <p:cNvSpPr>
                <a:spLocks/>
              </p:cNvSpPr>
              <p:nvPr/>
            </p:nvSpPr>
            <p:spPr bwMode="auto">
              <a:xfrm>
                <a:off x="9620251" y="4402138"/>
                <a:ext cx="57150" cy="63500"/>
              </a:xfrm>
              <a:custGeom>
                <a:avLst/>
                <a:gdLst>
                  <a:gd name="T0" fmla="*/ 18 w 18"/>
                  <a:gd name="T1" fmla="*/ 16 h 20"/>
                  <a:gd name="T2" fmla="*/ 4 w 18"/>
                  <a:gd name="T3" fmla="*/ 19 h 20"/>
                  <a:gd name="T4" fmla="*/ 0 w 18"/>
                  <a:gd name="T5" fmla="*/ 17 h 20"/>
                  <a:gd name="T6" fmla="*/ 2 w 18"/>
                  <a:gd name="T7" fmla="*/ 14 h 20"/>
                  <a:gd name="T8" fmla="*/ 10 w 18"/>
                  <a:gd name="T9" fmla="*/ 12 h 20"/>
                  <a:gd name="T10" fmla="*/ 8 w 18"/>
                  <a:gd name="T11" fmla="*/ 4 h 20"/>
                  <a:gd name="T12" fmla="*/ 10 w 18"/>
                  <a:gd name="T13" fmla="*/ 0 h 20"/>
                  <a:gd name="T14" fmla="*/ 14 w 18"/>
                  <a:gd name="T15" fmla="*/ 2 h 20"/>
                  <a:gd name="T16" fmla="*/ 18 w 18"/>
                  <a:gd name="T1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18" y="16"/>
                    </a:moveTo>
                    <a:cubicBezTo>
                      <a:pt x="4" y="19"/>
                      <a:pt x="4" y="19"/>
                      <a:pt x="4" y="19"/>
                    </a:cubicBezTo>
                    <a:cubicBezTo>
                      <a:pt x="2" y="20"/>
                      <a:pt x="1" y="19"/>
                      <a:pt x="0" y="17"/>
                    </a:cubicBezTo>
                    <a:cubicBezTo>
                      <a:pt x="0" y="16"/>
                      <a:pt x="1" y="14"/>
                      <a:pt x="2" y="14"/>
                    </a:cubicBezTo>
                    <a:cubicBezTo>
                      <a:pt x="10" y="12"/>
                      <a:pt x="10" y="12"/>
                      <a:pt x="10" y="12"/>
                    </a:cubicBezTo>
                    <a:cubicBezTo>
                      <a:pt x="8" y="4"/>
                      <a:pt x="8" y="4"/>
                      <a:pt x="8" y="4"/>
                    </a:cubicBezTo>
                    <a:cubicBezTo>
                      <a:pt x="8" y="2"/>
                      <a:pt x="9" y="0"/>
                      <a:pt x="10" y="0"/>
                    </a:cubicBezTo>
                    <a:cubicBezTo>
                      <a:pt x="12" y="0"/>
                      <a:pt x="13" y="1"/>
                      <a:pt x="14" y="2"/>
                    </a:cubicBezTo>
                    <a:lnTo>
                      <a:pt x="18"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7945ADD3-FCF9-4D18-9021-D824443867AC}"/>
                </a:ext>
                <a:ext uri="{C183D7F6-B498-43B3-948B-1728B52AA6E4}">
                  <adec:decorative xmlns:adec="http://schemas.microsoft.com/office/drawing/2017/decorative" val="1"/>
                </a:ext>
              </a:extLst>
            </p:cNvPr>
            <p:cNvGrpSpPr/>
            <p:nvPr/>
          </p:nvGrpSpPr>
          <p:grpSpPr>
            <a:xfrm>
              <a:off x="7395647" y="2693888"/>
              <a:ext cx="554040" cy="339272"/>
              <a:chOff x="6910388" y="2709863"/>
              <a:chExt cx="565150" cy="346075"/>
            </a:xfrm>
          </p:grpSpPr>
          <p:sp>
            <p:nvSpPr>
              <p:cNvPr id="47" name="Freeform 74">
                <a:extLst>
                  <a:ext uri="{FF2B5EF4-FFF2-40B4-BE49-F238E27FC236}">
                    <a16:creationId xmlns:a16="http://schemas.microsoft.com/office/drawing/2014/main" id="{533B95AE-A468-4293-A186-BD8E3C32A160}"/>
                  </a:ext>
                </a:extLst>
              </p:cNvPr>
              <p:cNvSpPr>
                <a:spLocks noEditPoints="1"/>
              </p:cNvSpPr>
              <p:nvPr/>
            </p:nvSpPr>
            <p:spPr bwMode="auto">
              <a:xfrm>
                <a:off x="6986588" y="2760663"/>
                <a:ext cx="488950" cy="295275"/>
              </a:xfrm>
              <a:custGeom>
                <a:avLst/>
                <a:gdLst>
                  <a:gd name="T0" fmla="*/ 6 w 154"/>
                  <a:gd name="T1" fmla="*/ 1 h 93"/>
                  <a:gd name="T2" fmla="*/ 8 w 154"/>
                  <a:gd name="T3" fmla="*/ 6 h 93"/>
                  <a:gd name="T4" fmla="*/ 2 w 154"/>
                  <a:gd name="T5" fmla="*/ 8 h 93"/>
                  <a:gd name="T6" fmla="*/ 1 w 154"/>
                  <a:gd name="T7" fmla="*/ 2 h 93"/>
                  <a:gd name="T8" fmla="*/ 6 w 154"/>
                  <a:gd name="T9" fmla="*/ 1 h 93"/>
                  <a:gd name="T10" fmla="*/ 27 w 154"/>
                  <a:gd name="T11" fmla="*/ 13 h 93"/>
                  <a:gd name="T12" fmla="*/ 29 w 154"/>
                  <a:gd name="T13" fmla="*/ 18 h 93"/>
                  <a:gd name="T14" fmla="*/ 23 w 154"/>
                  <a:gd name="T15" fmla="*/ 20 h 93"/>
                  <a:gd name="T16" fmla="*/ 22 w 154"/>
                  <a:gd name="T17" fmla="*/ 14 h 93"/>
                  <a:gd name="T18" fmla="*/ 27 w 154"/>
                  <a:gd name="T19" fmla="*/ 13 h 93"/>
                  <a:gd name="T20" fmla="*/ 48 w 154"/>
                  <a:gd name="T21" fmla="*/ 25 h 93"/>
                  <a:gd name="T22" fmla="*/ 49 w 154"/>
                  <a:gd name="T23" fmla="*/ 30 h 93"/>
                  <a:gd name="T24" fmla="*/ 44 w 154"/>
                  <a:gd name="T25" fmla="*/ 32 h 93"/>
                  <a:gd name="T26" fmla="*/ 42 w 154"/>
                  <a:gd name="T27" fmla="*/ 26 h 93"/>
                  <a:gd name="T28" fmla="*/ 48 w 154"/>
                  <a:gd name="T29" fmla="*/ 25 h 93"/>
                  <a:gd name="T30" fmla="*/ 69 w 154"/>
                  <a:gd name="T31" fmla="*/ 37 h 93"/>
                  <a:gd name="T32" fmla="*/ 70 w 154"/>
                  <a:gd name="T33" fmla="*/ 42 h 93"/>
                  <a:gd name="T34" fmla="*/ 65 w 154"/>
                  <a:gd name="T35" fmla="*/ 44 h 93"/>
                  <a:gd name="T36" fmla="*/ 63 w 154"/>
                  <a:gd name="T37" fmla="*/ 38 h 93"/>
                  <a:gd name="T38" fmla="*/ 69 w 154"/>
                  <a:gd name="T39" fmla="*/ 37 h 93"/>
                  <a:gd name="T40" fmla="*/ 89 w 154"/>
                  <a:gd name="T41" fmla="*/ 49 h 93"/>
                  <a:gd name="T42" fmla="*/ 91 w 154"/>
                  <a:gd name="T43" fmla="*/ 54 h 93"/>
                  <a:gd name="T44" fmla="*/ 85 w 154"/>
                  <a:gd name="T45" fmla="*/ 56 h 93"/>
                  <a:gd name="T46" fmla="*/ 84 w 154"/>
                  <a:gd name="T47" fmla="*/ 50 h 93"/>
                  <a:gd name="T48" fmla="*/ 89 w 154"/>
                  <a:gd name="T49" fmla="*/ 49 h 93"/>
                  <a:gd name="T50" fmla="*/ 110 w 154"/>
                  <a:gd name="T51" fmla="*/ 61 h 93"/>
                  <a:gd name="T52" fmla="*/ 112 w 154"/>
                  <a:gd name="T53" fmla="*/ 66 h 93"/>
                  <a:gd name="T54" fmla="*/ 106 w 154"/>
                  <a:gd name="T55" fmla="*/ 68 h 93"/>
                  <a:gd name="T56" fmla="*/ 105 w 154"/>
                  <a:gd name="T57" fmla="*/ 62 h 93"/>
                  <a:gd name="T58" fmla="*/ 110 w 154"/>
                  <a:gd name="T59" fmla="*/ 61 h 93"/>
                  <a:gd name="T60" fmla="*/ 131 w 154"/>
                  <a:gd name="T61" fmla="*/ 73 h 93"/>
                  <a:gd name="T62" fmla="*/ 132 w 154"/>
                  <a:gd name="T63" fmla="*/ 78 h 93"/>
                  <a:gd name="T64" fmla="*/ 127 w 154"/>
                  <a:gd name="T65" fmla="*/ 80 h 93"/>
                  <a:gd name="T66" fmla="*/ 126 w 154"/>
                  <a:gd name="T67" fmla="*/ 74 h 93"/>
                  <a:gd name="T68" fmla="*/ 131 w 154"/>
                  <a:gd name="T69" fmla="*/ 73 h 93"/>
                  <a:gd name="T70" fmla="*/ 152 w 154"/>
                  <a:gd name="T71" fmla="*/ 85 h 93"/>
                  <a:gd name="T72" fmla="*/ 153 w 154"/>
                  <a:gd name="T73" fmla="*/ 90 h 93"/>
                  <a:gd name="T74" fmla="*/ 148 w 154"/>
                  <a:gd name="T75" fmla="*/ 92 h 93"/>
                  <a:gd name="T76" fmla="*/ 146 w 154"/>
                  <a:gd name="T77" fmla="*/ 86 h 93"/>
                  <a:gd name="T78" fmla="*/ 152 w 154"/>
                  <a:gd name="T79"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93">
                    <a:moveTo>
                      <a:pt x="6" y="1"/>
                    </a:moveTo>
                    <a:cubicBezTo>
                      <a:pt x="8" y="2"/>
                      <a:pt x="9" y="4"/>
                      <a:pt x="8" y="6"/>
                    </a:cubicBezTo>
                    <a:cubicBezTo>
                      <a:pt x="7" y="8"/>
                      <a:pt x="4" y="9"/>
                      <a:pt x="2" y="8"/>
                    </a:cubicBezTo>
                    <a:cubicBezTo>
                      <a:pt x="0" y="7"/>
                      <a:pt x="0" y="4"/>
                      <a:pt x="1" y="2"/>
                    </a:cubicBezTo>
                    <a:cubicBezTo>
                      <a:pt x="2" y="0"/>
                      <a:pt x="4" y="0"/>
                      <a:pt x="6" y="1"/>
                    </a:cubicBezTo>
                    <a:close/>
                    <a:moveTo>
                      <a:pt x="27" y="13"/>
                    </a:moveTo>
                    <a:cubicBezTo>
                      <a:pt x="29" y="14"/>
                      <a:pt x="30" y="16"/>
                      <a:pt x="29" y="18"/>
                    </a:cubicBezTo>
                    <a:cubicBezTo>
                      <a:pt x="27" y="20"/>
                      <a:pt x="25" y="21"/>
                      <a:pt x="23" y="20"/>
                    </a:cubicBezTo>
                    <a:cubicBezTo>
                      <a:pt x="21" y="19"/>
                      <a:pt x="21" y="16"/>
                      <a:pt x="22" y="14"/>
                    </a:cubicBezTo>
                    <a:cubicBezTo>
                      <a:pt x="23" y="12"/>
                      <a:pt x="25" y="12"/>
                      <a:pt x="27" y="13"/>
                    </a:cubicBezTo>
                    <a:close/>
                    <a:moveTo>
                      <a:pt x="48" y="25"/>
                    </a:moveTo>
                    <a:cubicBezTo>
                      <a:pt x="50" y="26"/>
                      <a:pt x="50" y="28"/>
                      <a:pt x="49" y="30"/>
                    </a:cubicBezTo>
                    <a:cubicBezTo>
                      <a:pt x="48" y="32"/>
                      <a:pt x="46" y="33"/>
                      <a:pt x="44" y="32"/>
                    </a:cubicBezTo>
                    <a:cubicBezTo>
                      <a:pt x="42" y="31"/>
                      <a:pt x="41" y="28"/>
                      <a:pt x="42" y="26"/>
                    </a:cubicBezTo>
                    <a:cubicBezTo>
                      <a:pt x="44" y="24"/>
                      <a:pt x="46" y="24"/>
                      <a:pt x="48" y="25"/>
                    </a:cubicBezTo>
                    <a:close/>
                    <a:moveTo>
                      <a:pt x="69" y="37"/>
                    </a:moveTo>
                    <a:cubicBezTo>
                      <a:pt x="71" y="38"/>
                      <a:pt x="71" y="40"/>
                      <a:pt x="70" y="42"/>
                    </a:cubicBezTo>
                    <a:cubicBezTo>
                      <a:pt x="69" y="44"/>
                      <a:pt x="67" y="45"/>
                      <a:pt x="65" y="44"/>
                    </a:cubicBezTo>
                    <a:cubicBezTo>
                      <a:pt x="63" y="43"/>
                      <a:pt x="62" y="40"/>
                      <a:pt x="63" y="38"/>
                    </a:cubicBezTo>
                    <a:cubicBezTo>
                      <a:pt x="64" y="36"/>
                      <a:pt x="67" y="36"/>
                      <a:pt x="69" y="37"/>
                    </a:cubicBezTo>
                    <a:close/>
                    <a:moveTo>
                      <a:pt x="89" y="49"/>
                    </a:moveTo>
                    <a:cubicBezTo>
                      <a:pt x="91" y="50"/>
                      <a:pt x="92" y="52"/>
                      <a:pt x="91" y="54"/>
                    </a:cubicBezTo>
                    <a:cubicBezTo>
                      <a:pt x="90" y="56"/>
                      <a:pt x="87" y="57"/>
                      <a:pt x="85" y="56"/>
                    </a:cubicBezTo>
                    <a:cubicBezTo>
                      <a:pt x="84" y="55"/>
                      <a:pt x="83" y="52"/>
                      <a:pt x="84" y="50"/>
                    </a:cubicBezTo>
                    <a:cubicBezTo>
                      <a:pt x="85" y="48"/>
                      <a:pt x="88" y="48"/>
                      <a:pt x="89" y="49"/>
                    </a:cubicBezTo>
                    <a:close/>
                    <a:moveTo>
                      <a:pt x="110" y="61"/>
                    </a:moveTo>
                    <a:cubicBezTo>
                      <a:pt x="112" y="62"/>
                      <a:pt x="113" y="64"/>
                      <a:pt x="112" y="66"/>
                    </a:cubicBezTo>
                    <a:cubicBezTo>
                      <a:pt x="111" y="68"/>
                      <a:pt x="108" y="69"/>
                      <a:pt x="106" y="68"/>
                    </a:cubicBezTo>
                    <a:cubicBezTo>
                      <a:pt x="104" y="67"/>
                      <a:pt x="104" y="64"/>
                      <a:pt x="105" y="62"/>
                    </a:cubicBezTo>
                    <a:cubicBezTo>
                      <a:pt x="106" y="60"/>
                      <a:pt x="108" y="60"/>
                      <a:pt x="110" y="61"/>
                    </a:cubicBezTo>
                    <a:close/>
                    <a:moveTo>
                      <a:pt x="131" y="73"/>
                    </a:moveTo>
                    <a:cubicBezTo>
                      <a:pt x="133" y="74"/>
                      <a:pt x="134" y="76"/>
                      <a:pt x="132" y="78"/>
                    </a:cubicBezTo>
                    <a:cubicBezTo>
                      <a:pt x="131" y="80"/>
                      <a:pt x="129" y="81"/>
                      <a:pt x="127" y="80"/>
                    </a:cubicBezTo>
                    <a:cubicBezTo>
                      <a:pt x="125" y="79"/>
                      <a:pt x="124" y="76"/>
                      <a:pt x="126" y="74"/>
                    </a:cubicBezTo>
                    <a:cubicBezTo>
                      <a:pt x="127" y="72"/>
                      <a:pt x="129" y="72"/>
                      <a:pt x="131" y="73"/>
                    </a:cubicBezTo>
                    <a:close/>
                    <a:moveTo>
                      <a:pt x="152" y="85"/>
                    </a:moveTo>
                    <a:cubicBezTo>
                      <a:pt x="154" y="86"/>
                      <a:pt x="154" y="88"/>
                      <a:pt x="153" y="90"/>
                    </a:cubicBezTo>
                    <a:cubicBezTo>
                      <a:pt x="152" y="92"/>
                      <a:pt x="150" y="93"/>
                      <a:pt x="148" y="92"/>
                    </a:cubicBezTo>
                    <a:cubicBezTo>
                      <a:pt x="146" y="91"/>
                      <a:pt x="145" y="88"/>
                      <a:pt x="146" y="86"/>
                    </a:cubicBezTo>
                    <a:cubicBezTo>
                      <a:pt x="147" y="84"/>
                      <a:pt x="150" y="84"/>
                      <a:pt x="152"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48" name="Freeform 75">
                <a:extLst>
                  <a:ext uri="{FF2B5EF4-FFF2-40B4-BE49-F238E27FC236}">
                    <a16:creationId xmlns:a16="http://schemas.microsoft.com/office/drawing/2014/main" id="{CCFE8642-033B-40B3-B1DD-A138CD9248C6}"/>
                  </a:ext>
                </a:extLst>
              </p:cNvPr>
              <p:cNvSpPr>
                <a:spLocks/>
              </p:cNvSpPr>
              <p:nvPr/>
            </p:nvSpPr>
            <p:spPr bwMode="auto">
              <a:xfrm>
                <a:off x="6910388" y="2709863"/>
                <a:ext cx="57150" cy="63500"/>
              </a:xfrm>
              <a:custGeom>
                <a:avLst/>
                <a:gdLst>
                  <a:gd name="T0" fmla="*/ 0 w 18"/>
                  <a:gd name="T1" fmla="*/ 4 h 20"/>
                  <a:gd name="T2" fmla="*/ 14 w 18"/>
                  <a:gd name="T3" fmla="*/ 0 h 20"/>
                  <a:gd name="T4" fmla="*/ 18 w 18"/>
                  <a:gd name="T5" fmla="*/ 2 h 20"/>
                  <a:gd name="T6" fmla="*/ 15 w 18"/>
                  <a:gd name="T7" fmla="*/ 6 h 20"/>
                  <a:gd name="T8" fmla="*/ 8 w 18"/>
                  <a:gd name="T9" fmla="*/ 8 h 20"/>
                  <a:gd name="T10" fmla="*/ 10 w 18"/>
                  <a:gd name="T11" fmla="*/ 16 h 20"/>
                  <a:gd name="T12" fmla="*/ 8 w 18"/>
                  <a:gd name="T13" fmla="*/ 20 h 20"/>
                  <a:gd name="T14" fmla="*/ 4 w 18"/>
                  <a:gd name="T15" fmla="*/ 18 h 20"/>
                  <a:gd name="T16" fmla="*/ 0 w 18"/>
                  <a:gd name="T1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0" y="4"/>
                    </a:moveTo>
                    <a:cubicBezTo>
                      <a:pt x="14" y="0"/>
                      <a:pt x="14" y="0"/>
                      <a:pt x="14" y="0"/>
                    </a:cubicBezTo>
                    <a:cubicBezTo>
                      <a:pt x="15" y="0"/>
                      <a:pt x="17" y="1"/>
                      <a:pt x="18" y="2"/>
                    </a:cubicBezTo>
                    <a:cubicBezTo>
                      <a:pt x="18" y="4"/>
                      <a:pt x="17" y="6"/>
                      <a:pt x="15" y="6"/>
                    </a:cubicBezTo>
                    <a:cubicBezTo>
                      <a:pt x="8" y="8"/>
                      <a:pt x="8" y="8"/>
                      <a:pt x="8" y="8"/>
                    </a:cubicBezTo>
                    <a:cubicBezTo>
                      <a:pt x="10" y="16"/>
                      <a:pt x="10" y="16"/>
                      <a:pt x="10" y="16"/>
                    </a:cubicBezTo>
                    <a:cubicBezTo>
                      <a:pt x="10" y="18"/>
                      <a:pt x="9" y="19"/>
                      <a:pt x="8" y="20"/>
                    </a:cubicBezTo>
                    <a:cubicBezTo>
                      <a:pt x="6" y="20"/>
                      <a:pt x="4" y="19"/>
                      <a:pt x="4" y="18"/>
                    </a:cubicBezTo>
                    <a:lnTo>
                      <a:pt x="0" y="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9" name="Group 38">
              <a:extLst>
                <a:ext uri="{FF2B5EF4-FFF2-40B4-BE49-F238E27FC236}">
                  <a16:creationId xmlns:a16="http://schemas.microsoft.com/office/drawing/2014/main" id="{A2E2F05A-C512-4C61-93AA-872AAD6415CF}"/>
                </a:ext>
                <a:ext uri="{C183D7F6-B498-43B3-948B-1728B52AA6E4}">
                  <adec:decorative xmlns:adec="http://schemas.microsoft.com/office/drawing/2017/decorative" val="1"/>
                </a:ext>
              </a:extLst>
            </p:cNvPr>
            <p:cNvGrpSpPr/>
            <p:nvPr/>
          </p:nvGrpSpPr>
          <p:grpSpPr>
            <a:xfrm>
              <a:off x="7348958" y="2802828"/>
              <a:ext cx="550928" cy="336159"/>
              <a:chOff x="6862763" y="2820988"/>
              <a:chExt cx="561975" cy="342900"/>
            </a:xfrm>
          </p:grpSpPr>
          <p:sp>
            <p:nvSpPr>
              <p:cNvPr id="45" name="Freeform 76">
                <a:extLst>
                  <a:ext uri="{FF2B5EF4-FFF2-40B4-BE49-F238E27FC236}">
                    <a16:creationId xmlns:a16="http://schemas.microsoft.com/office/drawing/2014/main" id="{88353D11-8DD2-4A72-9E19-0B6DEAA3C578}"/>
                  </a:ext>
                </a:extLst>
              </p:cNvPr>
              <p:cNvSpPr>
                <a:spLocks noEditPoints="1"/>
              </p:cNvSpPr>
              <p:nvPr/>
            </p:nvSpPr>
            <p:spPr bwMode="auto">
              <a:xfrm>
                <a:off x="6862763" y="2820988"/>
                <a:ext cx="488950" cy="295275"/>
              </a:xfrm>
              <a:custGeom>
                <a:avLst/>
                <a:gdLst>
                  <a:gd name="T0" fmla="*/ 6 w 154"/>
                  <a:gd name="T1" fmla="*/ 1 h 93"/>
                  <a:gd name="T2" fmla="*/ 8 w 154"/>
                  <a:gd name="T3" fmla="*/ 6 h 93"/>
                  <a:gd name="T4" fmla="*/ 2 w 154"/>
                  <a:gd name="T5" fmla="*/ 8 h 93"/>
                  <a:gd name="T6" fmla="*/ 1 w 154"/>
                  <a:gd name="T7" fmla="*/ 2 h 93"/>
                  <a:gd name="T8" fmla="*/ 6 w 154"/>
                  <a:gd name="T9" fmla="*/ 1 h 93"/>
                  <a:gd name="T10" fmla="*/ 27 w 154"/>
                  <a:gd name="T11" fmla="*/ 13 h 93"/>
                  <a:gd name="T12" fmla="*/ 29 w 154"/>
                  <a:gd name="T13" fmla="*/ 18 h 93"/>
                  <a:gd name="T14" fmla="*/ 23 w 154"/>
                  <a:gd name="T15" fmla="*/ 20 h 93"/>
                  <a:gd name="T16" fmla="*/ 22 w 154"/>
                  <a:gd name="T17" fmla="*/ 14 h 93"/>
                  <a:gd name="T18" fmla="*/ 27 w 154"/>
                  <a:gd name="T19" fmla="*/ 13 h 93"/>
                  <a:gd name="T20" fmla="*/ 48 w 154"/>
                  <a:gd name="T21" fmla="*/ 25 h 93"/>
                  <a:gd name="T22" fmla="*/ 49 w 154"/>
                  <a:gd name="T23" fmla="*/ 30 h 93"/>
                  <a:gd name="T24" fmla="*/ 44 w 154"/>
                  <a:gd name="T25" fmla="*/ 32 h 93"/>
                  <a:gd name="T26" fmla="*/ 43 w 154"/>
                  <a:gd name="T27" fmla="*/ 26 h 93"/>
                  <a:gd name="T28" fmla="*/ 48 w 154"/>
                  <a:gd name="T29" fmla="*/ 25 h 93"/>
                  <a:gd name="T30" fmla="*/ 69 w 154"/>
                  <a:gd name="T31" fmla="*/ 37 h 93"/>
                  <a:gd name="T32" fmla="*/ 70 w 154"/>
                  <a:gd name="T33" fmla="*/ 42 h 93"/>
                  <a:gd name="T34" fmla="*/ 65 w 154"/>
                  <a:gd name="T35" fmla="*/ 44 h 93"/>
                  <a:gd name="T36" fmla="*/ 63 w 154"/>
                  <a:gd name="T37" fmla="*/ 38 h 93"/>
                  <a:gd name="T38" fmla="*/ 69 w 154"/>
                  <a:gd name="T39" fmla="*/ 37 h 93"/>
                  <a:gd name="T40" fmla="*/ 90 w 154"/>
                  <a:gd name="T41" fmla="*/ 49 h 93"/>
                  <a:gd name="T42" fmla="*/ 91 w 154"/>
                  <a:gd name="T43" fmla="*/ 54 h 93"/>
                  <a:gd name="T44" fmla="*/ 86 w 154"/>
                  <a:gd name="T45" fmla="*/ 56 h 93"/>
                  <a:gd name="T46" fmla="*/ 84 w 154"/>
                  <a:gd name="T47" fmla="*/ 50 h 93"/>
                  <a:gd name="T48" fmla="*/ 90 w 154"/>
                  <a:gd name="T49" fmla="*/ 49 h 93"/>
                  <a:gd name="T50" fmla="*/ 110 w 154"/>
                  <a:gd name="T51" fmla="*/ 61 h 93"/>
                  <a:gd name="T52" fmla="*/ 112 w 154"/>
                  <a:gd name="T53" fmla="*/ 66 h 93"/>
                  <a:gd name="T54" fmla="*/ 106 w 154"/>
                  <a:gd name="T55" fmla="*/ 68 h 93"/>
                  <a:gd name="T56" fmla="*/ 105 w 154"/>
                  <a:gd name="T57" fmla="*/ 62 h 93"/>
                  <a:gd name="T58" fmla="*/ 110 w 154"/>
                  <a:gd name="T59" fmla="*/ 61 h 93"/>
                  <a:gd name="T60" fmla="*/ 131 w 154"/>
                  <a:gd name="T61" fmla="*/ 73 h 93"/>
                  <a:gd name="T62" fmla="*/ 133 w 154"/>
                  <a:gd name="T63" fmla="*/ 78 h 93"/>
                  <a:gd name="T64" fmla="*/ 127 w 154"/>
                  <a:gd name="T65" fmla="*/ 80 h 93"/>
                  <a:gd name="T66" fmla="*/ 126 w 154"/>
                  <a:gd name="T67" fmla="*/ 74 h 93"/>
                  <a:gd name="T68" fmla="*/ 131 w 154"/>
                  <a:gd name="T69" fmla="*/ 73 h 93"/>
                  <a:gd name="T70" fmla="*/ 152 w 154"/>
                  <a:gd name="T71" fmla="*/ 85 h 93"/>
                  <a:gd name="T72" fmla="*/ 153 w 154"/>
                  <a:gd name="T73" fmla="*/ 90 h 93"/>
                  <a:gd name="T74" fmla="*/ 148 w 154"/>
                  <a:gd name="T75" fmla="*/ 92 h 93"/>
                  <a:gd name="T76" fmla="*/ 146 w 154"/>
                  <a:gd name="T77" fmla="*/ 86 h 93"/>
                  <a:gd name="T78" fmla="*/ 152 w 154"/>
                  <a:gd name="T79"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93">
                    <a:moveTo>
                      <a:pt x="6" y="1"/>
                    </a:moveTo>
                    <a:cubicBezTo>
                      <a:pt x="8" y="2"/>
                      <a:pt x="9" y="5"/>
                      <a:pt x="8" y="6"/>
                    </a:cubicBezTo>
                    <a:cubicBezTo>
                      <a:pt x="7" y="8"/>
                      <a:pt x="4" y="9"/>
                      <a:pt x="2" y="8"/>
                    </a:cubicBezTo>
                    <a:cubicBezTo>
                      <a:pt x="1" y="7"/>
                      <a:pt x="0" y="4"/>
                      <a:pt x="1" y="2"/>
                    </a:cubicBezTo>
                    <a:cubicBezTo>
                      <a:pt x="2" y="1"/>
                      <a:pt x="5" y="0"/>
                      <a:pt x="6" y="1"/>
                    </a:cubicBezTo>
                    <a:close/>
                    <a:moveTo>
                      <a:pt x="27" y="13"/>
                    </a:moveTo>
                    <a:cubicBezTo>
                      <a:pt x="29" y="14"/>
                      <a:pt x="30" y="17"/>
                      <a:pt x="29" y="18"/>
                    </a:cubicBezTo>
                    <a:cubicBezTo>
                      <a:pt x="28" y="20"/>
                      <a:pt x="25" y="21"/>
                      <a:pt x="23" y="20"/>
                    </a:cubicBezTo>
                    <a:cubicBezTo>
                      <a:pt x="21" y="19"/>
                      <a:pt x="21" y="16"/>
                      <a:pt x="22" y="14"/>
                    </a:cubicBezTo>
                    <a:cubicBezTo>
                      <a:pt x="23" y="13"/>
                      <a:pt x="25" y="12"/>
                      <a:pt x="27" y="13"/>
                    </a:cubicBezTo>
                    <a:close/>
                    <a:moveTo>
                      <a:pt x="48" y="25"/>
                    </a:moveTo>
                    <a:cubicBezTo>
                      <a:pt x="50" y="26"/>
                      <a:pt x="51" y="29"/>
                      <a:pt x="49" y="30"/>
                    </a:cubicBezTo>
                    <a:cubicBezTo>
                      <a:pt x="48" y="32"/>
                      <a:pt x="46" y="33"/>
                      <a:pt x="44" y="32"/>
                    </a:cubicBezTo>
                    <a:cubicBezTo>
                      <a:pt x="42" y="31"/>
                      <a:pt x="41" y="28"/>
                      <a:pt x="43" y="26"/>
                    </a:cubicBezTo>
                    <a:cubicBezTo>
                      <a:pt x="44" y="25"/>
                      <a:pt x="46" y="24"/>
                      <a:pt x="48" y="25"/>
                    </a:cubicBezTo>
                    <a:close/>
                    <a:moveTo>
                      <a:pt x="69" y="37"/>
                    </a:moveTo>
                    <a:cubicBezTo>
                      <a:pt x="71" y="38"/>
                      <a:pt x="71" y="41"/>
                      <a:pt x="70" y="42"/>
                    </a:cubicBezTo>
                    <a:cubicBezTo>
                      <a:pt x="69" y="44"/>
                      <a:pt x="67" y="45"/>
                      <a:pt x="65" y="44"/>
                    </a:cubicBezTo>
                    <a:cubicBezTo>
                      <a:pt x="63" y="43"/>
                      <a:pt x="62" y="40"/>
                      <a:pt x="63" y="38"/>
                    </a:cubicBezTo>
                    <a:cubicBezTo>
                      <a:pt x="64" y="37"/>
                      <a:pt x="67" y="36"/>
                      <a:pt x="69" y="37"/>
                    </a:cubicBezTo>
                    <a:close/>
                    <a:moveTo>
                      <a:pt x="90" y="49"/>
                    </a:moveTo>
                    <a:cubicBezTo>
                      <a:pt x="91" y="50"/>
                      <a:pt x="92" y="53"/>
                      <a:pt x="91" y="54"/>
                    </a:cubicBezTo>
                    <a:cubicBezTo>
                      <a:pt x="90" y="56"/>
                      <a:pt x="87" y="57"/>
                      <a:pt x="86" y="56"/>
                    </a:cubicBezTo>
                    <a:cubicBezTo>
                      <a:pt x="84" y="55"/>
                      <a:pt x="83" y="52"/>
                      <a:pt x="84" y="50"/>
                    </a:cubicBezTo>
                    <a:cubicBezTo>
                      <a:pt x="85" y="49"/>
                      <a:pt x="88" y="48"/>
                      <a:pt x="90" y="49"/>
                    </a:cubicBezTo>
                    <a:close/>
                    <a:moveTo>
                      <a:pt x="110" y="61"/>
                    </a:moveTo>
                    <a:cubicBezTo>
                      <a:pt x="112" y="62"/>
                      <a:pt x="113" y="65"/>
                      <a:pt x="112" y="66"/>
                    </a:cubicBezTo>
                    <a:cubicBezTo>
                      <a:pt x="111" y="68"/>
                      <a:pt x="108" y="69"/>
                      <a:pt x="106" y="68"/>
                    </a:cubicBezTo>
                    <a:cubicBezTo>
                      <a:pt x="104" y="67"/>
                      <a:pt x="104" y="64"/>
                      <a:pt x="105" y="62"/>
                    </a:cubicBezTo>
                    <a:cubicBezTo>
                      <a:pt x="106" y="61"/>
                      <a:pt x="108" y="60"/>
                      <a:pt x="110" y="61"/>
                    </a:cubicBezTo>
                    <a:close/>
                    <a:moveTo>
                      <a:pt x="131" y="73"/>
                    </a:moveTo>
                    <a:cubicBezTo>
                      <a:pt x="133" y="74"/>
                      <a:pt x="134" y="77"/>
                      <a:pt x="133" y="78"/>
                    </a:cubicBezTo>
                    <a:cubicBezTo>
                      <a:pt x="132" y="80"/>
                      <a:pt x="129" y="81"/>
                      <a:pt x="127" y="80"/>
                    </a:cubicBezTo>
                    <a:cubicBezTo>
                      <a:pt x="125" y="79"/>
                      <a:pt x="125" y="76"/>
                      <a:pt x="126" y="74"/>
                    </a:cubicBezTo>
                    <a:cubicBezTo>
                      <a:pt x="127" y="73"/>
                      <a:pt x="129" y="72"/>
                      <a:pt x="131" y="73"/>
                    </a:cubicBezTo>
                    <a:close/>
                    <a:moveTo>
                      <a:pt x="152" y="85"/>
                    </a:moveTo>
                    <a:cubicBezTo>
                      <a:pt x="154" y="86"/>
                      <a:pt x="154" y="89"/>
                      <a:pt x="153" y="90"/>
                    </a:cubicBezTo>
                    <a:cubicBezTo>
                      <a:pt x="152" y="92"/>
                      <a:pt x="150" y="93"/>
                      <a:pt x="148" y="92"/>
                    </a:cubicBezTo>
                    <a:cubicBezTo>
                      <a:pt x="146" y="91"/>
                      <a:pt x="145" y="88"/>
                      <a:pt x="146" y="86"/>
                    </a:cubicBezTo>
                    <a:cubicBezTo>
                      <a:pt x="148" y="85"/>
                      <a:pt x="150" y="84"/>
                      <a:pt x="152" y="85"/>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sp>
            <p:nvSpPr>
              <p:cNvPr id="46" name="Freeform 77">
                <a:extLst>
                  <a:ext uri="{FF2B5EF4-FFF2-40B4-BE49-F238E27FC236}">
                    <a16:creationId xmlns:a16="http://schemas.microsoft.com/office/drawing/2014/main" id="{9A5587C4-2F0B-4625-A262-151D659FD4EF}"/>
                  </a:ext>
                </a:extLst>
              </p:cNvPr>
              <p:cNvSpPr>
                <a:spLocks/>
              </p:cNvSpPr>
              <p:nvPr/>
            </p:nvSpPr>
            <p:spPr bwMode="auto">
              <a:xfrm>
                <a:off x="7370763" y="3100388"/>
                <a:ext cx="53975" cy="63500"/>
              </a:xfrm>
              <a:custGeom>
                <a:avLst/>
                <a:gdLst>
                  <a:gd name="T0" fmla="*/ 17 w 17"/>
                  <a:gd name="T1" fmla="*/ 16 h 20"/>
                  <a:gd name="T2" fmla="*/ 4 w 17"/>
                  <a:gd name="T3" fmla="*/ 20 h 20"/>
                  <a:gd name="T4" fmla="*/ 0 w 17"/>
                  <a:gd name="T5" fmla="*/ 18 h 20"/>
                  <a:gd name="T6" fmla="*/ 2 w 17"/>
                  <a:gd name="T7" fmla="*/ 14 h 20"/>
                  <a:gd name="T8" fmla="*/ 10 w 17"/>
                  <a:gd name="T9" fmla="*/ 12 h 20"/>
                  <a:gd name="T10" fmla="*/ 8 w 17"/>
                  <a:gd name="T11" fmla="*/ 4 h 20"/>
                  <a:gd name="T12" fmla="*/ 10 w 17"/>
                  <a:gd name="T13" fmla="*/ 1 h 20"/>
                  <a:gd name="T14" fmla="*/ 14 w 17"/>
                  <a:gd name="T15" fmla="*/ 3 h 20"/>
                  <a:gd name="T16" fmla="*/ 17 w 17"/>
                  <a:gd name="T1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7" y="16"/>
                    </a:moveTo>
                    <a:cubicBezTo>
                      <a:pt x="4" y="20"/>
                      <a:pt x="4" y="20"/>
                      <a:pt x="4" y="20"/>
                    </a:cubicBezTo>
                    <a:cubicBezTo>
                      <a:pt x="2" y="20"/>
                      <a:pt x="0" y="19"/>
                      <a:pt x="0" y="18"/>
                    </a:cubicBezTo>
                    <a:cubicBezTo>
                      <a:pt x="0" y="16"/>
                      <a:pt x="0" y="15"/>
                      <a:pt x="2" y="14"/>
                    </a:cubicBezTo>
                    <a:cubicBezTo>
                      <a:pt x="10" y="12"/>
                      <a:pt x="10" y="12"/>
                      <a:pt x="10" y="12"/>
                    </a:cubicBezTo>
                    <a:cubicBezTo>
                      <a:pt x="8" y="4"/>
                      <a:pt x="8" y="4"/>
                      <a:pt x="8" y="4"/>
                    </a:cubicBezTo>
                    <a:cubicBezTo>
                      <a:pt x="7" y="3"/>
                      <a:pt x="8" y="1"/>
                      <a:pt x="10" y="1"/>
                    </a:cubicBezTo>
                    <a:cubicBezTo>
                      <a:pt x="12" y="0"/>
                      <a:pt x="13" y="1"/>
                      <a:pt x="14" y="3"/>
                    </a:cubicBezTo>
                    <a:lnTo>
                      <a:pt x="17" y="16"/>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0" name="Freeform 13">
              <a:extLst>
                <a:ext uri="{FF2B5EF4-FFF2-40B4-BE49-F238E27FC236}">
                  <a16:creationId xmlns:a16="http://schemas.microsoft.com/office/drawing/2014/main" id="{99EA3106-0A12-42AB-A9B9-B7A8B41CFB37}"/>
                </a:ext>
              </a:extLst>
            </p:cNvPr>
            <p:cNvSpPr>
              <a:spLocks/>
            </p:cNvSpPr>
            <p:nvPr/>
          </p:nvSpPr>
          <p:spPr bwMode="auto">
            <a:xfrm>
              <a:off x="10109822" y="1686965"/>
              <a:ext cx="1369538" cy="137109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Marketing</a:t>
              </a:r>
            </a:p>
          </p:txBody>
        </p:sp>
        <p:sp>
          <p:nvSpPr>
            <p:cNvPr id="41" name="Freeform 16">
              <a:extLst>
                <a:ext uri="{FF2B5EF4-FFF2-40B4-BE49-F238E27FC236}">
                  <a16:creationId xmlns:a16="http://schemas.microsoft.com/office/drawing/2014/main" id="{8EA05F52-4E50-4AA9-BA26-312F84421A73}"/>
                </a:ext>
              </a:extLst>
            </p:cNvPr>
            <p:cNvSpPr>
              <a:spLocks/>
            </p:cNvSpPr>
            <p:nvPr/>
          </p:nvSpPr>
          <p:spPr bwMode="auto">
            <a:xfrm>
              <a:off x="6021439" y="1686965"/>
              <a:ext cx="1369538" cy="137109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upport</a:t>
              </a:r>
            </a:p>
          </p:txBody>
        </p:sp>
        <p:sp>
          <p:nvSpPr>
            <p:cNvPr id="42" name="Freeform 17">
              <a:extLst>
                <a:ext uri="{FF2B5EF4-FFF2-40B4-BE49-F238E27FC236}">
                  <a16:creationId xmlns:a16="http://schemas.microsoft.com/office/drawing/2014/main" id="{4C0249A9-7728-4D78-911D-9286740FE34F}"/>
                </a:ext>
              </a:extLst>
            </p:cNvPr>
            <p:cNvSpPr>
              <a:spLocks/>
            </p:cNvSpPr>
            <p:nvPr/>
          </p:nvSpPr>
          <p:spPr bwMode="auto">
            <a:xfrm>
              <a:off x="6021439" y="4049418"/>
              <a:ext cx="1369538" cy="137109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Segoe UI"/>
                  <a:ea typeface="+mn-ea"/>
                  <a:cs typeface="Segoe UI"/>
                </a:rPr>
                <a:t>Research</a:t>
              </a:r>
            </a:p>
          </p:txBody>
        </p:sp>
        <p:sp>
          <p:nvSpPr>
            <p:cNvPr id="43" name="Freeform 19">
              <a:extLst>
                <a:ext uri="{FF2B5EF4-FFF2-40B4-BE49-F238E27FC236}">
                  <a16:creationId xmlns:a16="http://schemas.microsoft.com/office/drawing/2014/main" id="{756A398C-0B25-492F-9A4C-4D7773758E59}"/>
                </a:ext>
              </a:extLst>
            </p:cNvPr>
            <p:cNvSpPr>
              <a:spLocks/>
            </p:cNvSpPr>
            <p:nvPr/>
          </p:nvSpPr>
          <p:spPr bwMode="auto">
            <a:xfrm>
              <a:off x="10109822" y="4049418"/>
              <a:ext cx="1369538" cy="1371095"/>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372" b="0" i="0" u="none" strike="noStrike" kern="1200" cap="none" spc="0" normalizeH="0" baseline="0" noProof="0">
                  <a:ln>
                    <a:noFill/>
                  </a:ln>
                  <a:solidFill>
                    <a:srgbClr val="FFFFFF"/>
                  </a:solidFill>
                  <a:effectLst/>
                  <a:uLnTx/>
                  <a:uFillTx/>
                  <a:latin typeface="Segoe UI"/>
                  <a:ea typeface="+mn-ea"/>
                  <a:cs typeface="+mn-cs"/>
                </a:rPr>
                <a:t>Sales</a:t>
              </a:r>
            </a:p>
          </p:txBody>
        </p:sp>
        <p:sp>
          <p:nvSpPr>
            <p:cNvPr id="44" name="Freeform 14">
              <a:extLst>
                <a:ext uri="{FF2B5EF4-FFF2-40B4-BE49-F238E27FC236}">
                  <a16:creationId xmlns:a16="http://schemas.microsoft.com/office/drawing/2014/main" id="{F479F63D-40B6-431D-B14F-E5BA50A938F5}"/>
                </a:ext>
              </a:extLst>
            </p:cNvPr>
            <p:cNvSpPr>
              <a:spLocks/>
            </p:cNvSpPr>
            <p:nvPr/>
          </p:nvSpPr>
          <p:spPr bwMode="auto">
            <a:xfrm>
              <a:off x="7878099" y="2681532"/>
              <a:ext cx="1744603" cy="1745970"/>
            </a:xfrm>
            <a:prstGeom prst="ellipse">
              <a:avLst/>
            </a:prstGeom>
            <a:solidFill>
              <a:srgbClr val="00188F"/>
            </a:solidFill>
            <a:ln>
              <a:noFill/>
            </a:ln>
          </p:spPr>
          <p:txBody>
            <a:bodyPr vert="horz" wrap="square" lIns="0" tIns="44821" rIns="0" bIns="44821" numCol="1" anchor="ctr" anchorCtr="0" compatLnSpc="1">
              <a:prstTxWarp prst="textNoShape">
                <a:avLst/>
              </a:prstTxWarp>
            </a:bodyPr>
            <a:lstStyle/>
            <a:p>
              <a:pPr marL="0" marR="0" lvl="0" indent="0" algn="ctr" defTabSz="896386"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Accessibility</a:t>
              </a:r>
            </a:p>
          </p:txBody>
        </p:sp>
      </p:grpSp>
    </p:spTree>
    <p:extLst>
      <p:ext uri="{BB962C8B-B14F-4D97-AF65-F5344CB8AC3E}">
        <p14:creationId xmlns:p14="http://schemas.microsoft.com/office/powerpoint/2010/main" val="15016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1">
            <a:extLst>
              <a:ext uri="{FF2B5EF4-FFF2-40B4-BE49-F238E27FC236}">
                <a16:creationId xmlns:a16="http://schemas.microsoft.com/office/drawing/2014/main" id="{F5A276F0-235C-4284-9B06-D5E0C6B42701}"/>
              </a:ext>
            </a:extLst>
          </p:cNvPr>
          <p:cNvSpPr>
            <a:spLocks noGrp="1"/>
          </p:cNvSpPr>
          <p:nvPr>
            <p:ph type="title"/>
          </p:nvPr>
        </p:nvSpPr>
        <p:spPr>
          <a:xfrm>
            <a:off x="588263" y="457200"/>
            <a:ext cx="11018520" cy="553998"/>
          </a:xfrm>
        </p:spPr>
        <p:txBody>
          <a:bodyPr/>
          <a:lstStyle/>
          <a:p>
            <a:r>
              <a:rPr lang="en-US"/>
              <a:t>Manage accessibility like a business </a:t>
            </a:r>
          </a:p>
        </p:txBody>
      </p:sp>
      <p:sp>
        <p:nvSpPr>
          <p:cNvPr id="56" name="TextBox 55">
            <a:extLst>
              <a:ext uri="{FF2B5EF4-FFF2-40B4-BE49-F238E27FC236}">
                <a16:creationId xmlns:a16="http://schemas.microsoft.com/office/drawing/2014/main" id="{18236FAD-F102-4BEA-8C75-751DC3BC2E62}"/>
              </a:ext>
            </a:extLst>
          </p:cNvPr>
          <p:cNvSpPr txBox="1"/>
          <p:nvPr/>
        </p:nvSpPr>
        <p:spPr>
          <a:xfrm>
            <a:off x="588263" y="1204141"/>
            <a:ext cx="9489187" cy="369332"/>
          </a:xfrm>
          <a:prstGeom prst="rect">
            <a:avLst/>
          </a:prstGeom>
          <a:noFill/>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Systematically measure progress and targets</a:t>
            </a:r>
          </a:p>
        </p:txBody>
      </p:sp>
      <p:sp>
        <p:nvSpPr>
          <p:cNvPr id="57" name="TextBox 56">
            <a:extLst>
              <a:ext uri="{FF2B5EF4-FFF2-40B4-BE49-F238E27FC236}">
                <a16:creationId xmlns:a16="http://schemas.microsoft.com/office/drawing/2014/main" id="{4DB945AC-E96E-4712-B6F3-B4DA8486244B}"/>
              </a:ext>
            </a:extLst>
          </p:cNvPr>
          <p:cNvSpPr txBox="1"/>
          <p:nvPr/>
        </p:nvSpPr>
        <p:spPr>
          <a:xfrm>
            <a:off x="588261" y="2006753"/>
            <a:ext cx="2688236" cy="430887"/>
          </a:xfrm>
          <a:prstGeom prst="rect">
            <a:avLst/>
          </a:prstGeom>
          <a:noFill/>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bold"/>
                <a:ea typeface="+mn-ea"/>
                <a:cs typeface="+mn-cs"/>
              </a:rPr>
              <a:t>Maturity models</a:t>
            </a:r>
          </a:p>
        </p:txBody>
      </p:sp>
      <p:sp>
        <p:nvSpPr>
          <p:cNvPr id="58" name="Rectangle 57">
            <a:extLst>
              <a:ext uri="{FF2B5EF4-FFF2-40B4-BE49-F238E27FC236}">
                <a16:creationId xmlns:a16="http://schemas.microsoft.com/office/drawing/2014/main" id="{3C2FF80A-BE84-4BE1-9597-2C483CABD0DE}"/>
              </a:ext>
            </a:extLst>
          </p:cNvPr>
          <p:cNvSpPr/>
          <p:nvPr/>
        </p:nvSpPr>
        <p:spPr bwMode="auto">
          <a:xfrm>
            <a:off x="588260" y="2569028"/>
            <a:ext cx="4174239"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Carnegie Mellon</a:t>
            </a:r>
          </a:p>
        </p:txBody>
      </p:sp>
      <p:sp>
        <p:nvSpPr>
          <p:cNvPr id="59" name="Freeform: Shape 58">
            <a:extLst>
              <a:ext uri="{FF2B5EF4-FFF2-40B4-BE49-F238E27FC236}">
                <a16:creationId xmlns:a16="http://schemas.microsoft.com/office/drawing/2014/main" id="{BA8F2FC5-5762-408A-8848-6E9B937A59BC}"/>
              </a:ext>
              <a:ext uri="{C183D7F6-B498-43B3-948B-1728B52AA6E4}">
                <adec:decorative xmlns:adec="http://schemas.microsoft.com/office/drawing/2017/decorative" val="1"/>
              </a:ext>
            </a:extLst>
          </p:cNvPr>
          <p:cNvSpPr/>
          <p:nvPr/>
        </p:nvSpPr>
        <p:spPr bwMode="auto">
          <a:xfrm>
            <a:off x="588260" y="3666308"/>
            <a:ext cx="4386681" cy="255271"/>
          </a:xfrm>
          <a:custGeom>
            <a:avLst/>
            <a:gdLst>
              <a:gd name="connsiteX0" fmla="*/ 0 w 3291840"/>
              <a:gd name="connsiteY0" fmla="*/ 0 h 255270"/>
              <a:gd name="connsiteX1" fmla="*/ 3017520 w 3291840"/>
              <a:gd name="connsiteY1" fmla="*/ 0 h 255270"/>
              <a:gd name="connsiteX2" fmla="*/ 3291840 w 3291840"/>
              <a:gd name="connsiteY2" fmla="*/ 255270 h 255270"/>
              <a:gd name="connsiteX3" fmla="*/ 0 w 3291840"/>
              <a:gd name="connsiteY3" fmla="*/ 255270 h 255270"/>
            </a:gdLst>
            <a:ahLst/>
            <a:cxnLst>
              <a:cxn ang="0">
                <a:pos x="connsiteX0" y="connsiteY0"/>
              </a:cxn>
              <a:cxn ang="0">
                <a:pos x="connsiteX1" y="connsiteY1"/>
              </a:cxn>
              <a:cxn ang="0">
                <a:pos x="connsiteX2" y="connsiteY2"/>
              </a:cxn>
              <a:cxn ang="0">
                <a:pos x="connsiteX3" y="connsiteY3"/>
              </a:cxn>
            </a:cxnLst>
            <a:rect l="l" t="t" r="r" b="b"/>
            <a:pathLst>
              <a:path w="3291840" h="255270">
                <a:moveTo>
                  <a:pt x="0" y="0"/>
                </a:moveTo>
                <a:lnTo>
                  <a:pt x="3017520" y="0"/>
                </a:lnTo>
                <a:lnTo>
                  <a:pt x="3291840" y="255270"/>
                </a:lnTo>
                <a:lnTo>
                  <a:pt x="0" y="25527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60" name="Rectangle 59">
            <a:extLst>
              <a:ext uri="{FF2B5EF4-FFF2-40B4-BE49-F238E27FC236}">
                <a16:creationId xmlns:a16="http://schemas.microsoft.com/office/drawing/2014/main" id="{F8D58E4F-88E2-43CF-AF07-D4465BE675FF}"/>
              </a:ext>
            </a:extLst>
          </p:cNvPr>
          <p:cNvSpPr/>
          <p:nvPr/>
        </p:nvSpPr>
        <p:spPr bwMode="auto">
          <a:xfrm>
            <a:off x="588260" y="3921578"/>
            <a:ext cx="4269987" cy="10972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rPr>
              <a:t>Level Access</a:t>
            </a:r>
          </a:p>
        </p:txBody>
      </p:sp>
      <p:sp>
        <p:nvSpPr>
          <p:cNvPr id="61" name="Rectangle 60">
            <a:extLst>
              <a:ext uri="{FF2B5EF4-FFF2-40B4-BE49-F238E27FC236}">
                <a16:creationId xmlns:a16="http://schemas.microsoft.com/office/drawing/2014/main" id="{ECA4AA61-52AE-493C-A02D-C8AC1F85F1E1}"/>
              </a:ext>
              <a:ext uri="{C183D7F6-B498-43B3-948B-1728B52AA6E4}">
                <adec:decorative xmlns:adec="http://schemas.microsoft.com/office/drawing/2017/decorative" val="1"/>
              </a:ext>
            </a:extLst>
          </p:cNvPr>
          <p:cNvSpPr/>
          <p:nvPr/>
        </p:nvSpPr>
        <p:spPr bwMode="auto">
          <a:xfrm>
            <a:off x="-1" y="5018859"/>
            <a:ext cx="5141976" cy="118872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4" name="Freeform: Shape 63">
            <a:extLst>
              <a:ext uri="{FF2B5EF4-FFF2-40B4-BE49-F238E27FC236}">
                <a16:creationId xmlns:a16="http://schemas.microsoft.com/office/drawing/2014/main" id="{DEB4496E-6E69-48D8-B582-83FFD5767D47}"/>
              </a:ext>
              <a:ext uri="{C183D7F6-B498-43B3-948B-1728B52AA6E4}">
                <adec:decorative xmlns:adec="http://schemas.microsoft.com/office/drawing/2017/decorative" val="1"/>
              </a:ext>
            </a:extLst>
          </p:cNvPr>
          <p:cNvSpPr/>
          <p:nvPr/>
        </p:nvSpPr>
        <p:spPr bwMode="auto">
          <a:xfrm>
            <a:off x="4275608" y="1949845"/>
            <a:ext cx="1914081" cy="4328334"/>
          </a:xfrm>
          <a:custGeom>
            <a:avLst/>
            <a:gdLst>
              <a:gd name="connsiteX0" fmla="*/ 379476 w 1428751"/>
              <a:gd name="connsiteY0" fmla="*/ 4257733 h 4257734"/>
              <a:gd name="connsiteX1" fmla="*/ 1428751 w 1428751"/>
              <a:gd name="connsiteY1" fmla="*/ 4257733 h 4257734"/>
              <a:gd name="connsiteX2" fmla="*/ 1428751 w 1428751"/>
              <a:gd name="connsiteY2" fmla="*/ 4257734 h 4257734"/>
              <a:gd name="connsiteX3" fmla="*/ 379476 w 1428751"/>
              <a:gd name="connsiteY3" fmla="*/ 4257734 h 4257734"/>
              <a:gd name="connsiteX4" fmla="*/ 1425628 w 1428751"/>
              <a:gd name="connsiteY4" fmla="*/ 0 h 4257734"/>
              <a:gd name="connsiteX5" fmla="*/ 1428751 w 1428751"/>
              <a:gd name="connsiteY5" fmla="*/ 0 h 4257734"/>
              <a:gd name="connsiteX6" fmla="*/ 1428751 w 1428751"/>
              <a:gd name="connsiteY6" fmla="*/ 3498456 h 4257734"/>
              <a:gd name="connsiteX7" fmla="*/ 379476 w 1428751"/>
              <a:gd name="connsiteY7" fmla="*/ 4257733 h 4257734"/>
              <a:gd name="connsiteX8" fmla="*/ 379476 w 1428751"/>
              <a:gd name="connsiteY8" fmla="*/ 3069014 h 4257734"/>
              <a:gd name="connsiteX9" fmla="*/ 0 w 1428751"/>
              <a:gd name="connsiteY9" fmla="*/ 3069014 h 4257734"/>
              <a:gd name="connsiteX10" fmla="*/ 0 w 1428751"/>
              <a:gd name="connsiteY10" fmla="*/ 3069013 h 4257734"/>
              <a:gd name="connsiteX11" fmla="*/ 379476 w 1428751"/>
              <a:gd name="connsiteY11" fmla="*/ 3069013 h 4257734"/>
              <a:gd name="connsiteX12" fmla="*/ 379476 w 1428751"/>
              <a:gd name="connsiteY12" fmla="*/ 1971734 h 4257734"/>
              <a:gd name="connsiteX13" fmla="*/ 379476 w 1428751"/>
              <a:gd name="connsiteY13" fmla="*/ 1971733 h 4257734"/>
              <a:gd name="connsiteX14" fmla="*/ 379475 w 1428751"/>
              <a:gd name="connsiteY14" fmla="*/ 1971733 h 4257734"/>
              <a:gd name="connsiteX15" fmla="*/ 0 w 1428751"/>
              <a:gd name="connsiteY15" fmla="*/ 1716464 h 4257734"/>
              <a:gd name="connsiteX16" fmla="*/ 0 w 1428751"/>
              <a:gd name="connsiteY16" fmla="*/ 1716463 h 4257734"/>
              <a:gd name="connsiteX17" fmla="*/ 0 w 1428751"/>
              <a:gd name="connsiteY17" fmla="*/ 619183 h 4257734"/>
              <a:gd name="connsiteX18" fmla="*/ 0 w 1428751"/>
              <a:gd name="connsiteY18" fmla="*/ 619182 h 4257734"/>
              <a:gd name="connsiteX0" fmla="*/ 379476 w 1428751"/>
              <a:gd name="connsiteY0" fmla="*/ 4257733 h 4287535"/>
              <a:gd name="connsiteX1" fmla="*/ 1428751 w 1428751"/>
              <a:gd name="connsiteY1" fmla="*/ 4257733 h 4287535"/>
              <a:gd name="connsiteX2" fmla="*/ 1428751 w 1428751"/>
              <a:gd name="connsiteY2" fmla="*/ 4257734 h 4287535"/>
              <a:gd name="connsiteX3" fmla="*/ 379476 w 1428751"/>
              <a:gd name="connsiteY3" fmla="*/ 4257734 h 4287535"/>
              <a:gd name="connsiteX4" fmla="*/ 379476 w 1428751"/>
              <a:gd name="connsiteY4" fmla="*/ 4257733 h 4287535"/>
              <a:gd name="connsiteX5" fmla="*/ 1425628 w 1428751"/>
              <a:gd name="connsiteY5" fmla="*/ 0 h 4287535"/>
              <a:gd name="connsiteX6" fmla="*/ 1428751 w 1428751"/>
              <a:gd name="connsiteY6" fmla="*/ 0 h 4287535"/>
              <a:gd name="connsiteX7" fmla="*/ 1428751 w 1428751"/>
              <a:gd name="connsiteY7" fmla="*/ 3498456 h 4287535"/>
              <a:gd name="connsiteX8" fmla="*/ 626818 w 1428751"/>
              <a:gd name="connsiteY8" fmla="*/ 4287535 h 4287535"/>
              <a:gd name="connsiteX9" fmla="*/ 379476 w 1428751"/>
              <a:gd name="connsiteY9" fmla="*/ 3069014 h 4287535"/>
              <a:gd name="connsiteX10" fmla="*/ 0 w 1428751"/>
              <a:gd name="connsiteY10" fmla="*/ 3069014 h 4287535"/>
              <a:gd name="connsiteX11" fmla="*/ 0 w 1428751"/>
              <a:gd name="connsiteY11" fmla="*/ 3069013 h 4287535"/>
              <a:gd name="connsiteX12" fmla="*/ 379476 w 1428751"/>
              <a:gd name="connsiteY12" fmla="*/ 3069013 h 4287535"/>
              <a:gd name="connsiteX13" fmla="*/ 379476 w 1428751"/>
              <a:gd name="connsiteY13" fmla="*/ 1971734 h 4287535"/>
              <a:gd name="connsiteX14" fmla="*/ 379476 w 1428751"/>
              <a:gd name="connsiteY14" fmla="*/ 1971733 h 4287535"/>
              <a:gd name="connsiteX15" fmla="*/ 379475 w 1428751"/>
              <a:gd name="connsiteY15" fmla="*/ 1971733 h 4287535"/>
              <a:gd name="connsiteX16" fmla="*/ 0 w 1428751"/>
              <a:gd name="connsiteY16" fmla="*/ 1716464 h 4287535"/>
              <a:gd name="connsiteX17" fmla="*/ 0 w 1428751"/>
              <a:gd name="connsiteY17" fmla="*/ 1716463 h 4287535"/>
              <a:gd name="connsiteX18" fmla="*/ 0 w 1428751"/>
              <a:gd name="connsiteY18" fmla="*/ 619183 h 4287535"/>
              <a:gd name="connsiteX19" fmla="*/ 0 w 1428751"/>
              <a:gd name="connsiteY19" fmla="*/ 619182 h 4287535"/>
              <a:gd name="connsiteX20" fmla="*/ 1425628 w 1428751"/>
              <a:gd name="connsiteY20" fmla="*/ 0 h 4287535"/>
              <a:gd name="connsiteX0" fmla="*/ 379476 w 1428751"/>
              <a:gd name="connsiteY0" fmla="*/ 4257733 h 4302435"/>
              <a:gd name="connsiteX1" fmla="*/ 1428751 w 1428751"/>
              <a:gd name="connsiteY1" fmla="*/ 4257733 h 4302435"/>
              <a:gd name="connsiteX2" fmla="*/ 1428751 w 1428751"/>
              <a:gd name="connsiteY2" fmla="*/ 4257734 h 4302435"/>
              <a:gd name="connsiteX3" fmla="*/ 379476 w 1428751"/>
              <a:gd name="connsiteY3" fmla="*/ 4257734 h 4302435"/>
              <a:gd name="connsiteX4" fmla="*/ 379476 w 1428751"/>
              <a:gd name="connsiteY4" fmla="*/ 4257733 h 4302435"/>
              <a:gd name="connsiteX5" fmla="*/ 1425628 w 1428751"/>
              <a:gd name="connsiteY5" fmla="*/ 0 h 4302435"/>
              <a:gd name="connsiteX6" fmla="*/ 1428751 w 1428751"/>
              <a:gd name="connsiteY6" fmla="*/ 0 h 4302435"/>
              <a:gd name="connsiteX7" fmla="*/ 1428751 w 1428751"/>
              <a:gd name="connsiteY7" fmla="*/ 3498456 h 4302435"/>
              <a:gd name="connsiteX8" fmla="*/ 688359 w 1428751"/>
              <a:gd name="connsiteY8" fmla="*/ 4302435 h 4302435"/>
              <a:gd name="connsiteX9" fmla="*/ 379476 w 1428751"/>
              <a:gd name="connsiteY9" fmla="*/ 3069014 h 4302435"/>
              <a:gd name="connsiteX10" fmla="*/ 0 w 1428751"/>
              <a:gd name="connsiteY10" fmla="*/ 3069014 h 4302435"/>
              <a:gd name="connsiteX11" fmla="*/ 0 w 1428751"/>
              <a:gd name="connsiteY11" fmla="*/ 3069013 h 4302435"/>
              <a:gd name="connsiteX12" fmla="*/ 379476 w 1428751"/>
              <a:gd name="connsiteY12" fmla="*/ 3069013 h 4302435"/>
              <a:gd name="connsiteX13" fmla="*/ 379476 w 1428751"/>
              <a:gd name="connsiteY13" fmla="*/ 1971734 h 4302435"/>
              <a:gd name="connsiteX14" fmla="*/ 379476 w 1428751"/>
              <a:gd name="connsiteY14" fmla="*/ 1971733 h 4302435"/>
              <a:gd name="connsiteX15" fmla="*/ 379475 w 1428751"/>
              <a:gd name="connsiteY15" fmla="*/ 1971733 h 4302435"/>
              <a:gd name="connsiteX16" fmla="*/ 0 w 1428751"/>
              <a:gd name="connsiteY16" fmla="*/ 1716464 h 4302435"/>
              <a:gd name="connsiteX17" fmla="*/ 0 w 1428751"/>
              <a:gd name="connsiteY17" fmla="*/ 1716463 h 4302435"/>
              <a:gd name="connsiteX18" fmla="*/ 0 w 1428751"/>
              <a:gd name="connsiteY18" fmla="*/ 619183 h 4302435"/>
              <a:gd name="connsiteX19" fmla="*/ 0 w 1428751"/>
              <a:gd name="connsiteY19" fmla="*/ 619182 h 4302435"/>
              <a:gd name="connsiteX20" fmla="*/ 1425628 w 1428751"/>
              <a:gd name="connsiteY20" fmla="*/ 0 h 430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28751" h="4302435">
                <a:moveTo>
                  <a:pt x="379476" y="4257733"/>
                </a:moveTo>
                <a:lnTo>
                  <a:pt x="1428751" y="4257733"/>
                </a:lnTo>
                <a:lnTo>
                  <a:pt x="1428751" y="4257734"/>
                </a:lnTo>
                <a:lnTo>
                  <a:pt x="379476" y="4257734"/>
                </a:lnTo>
                <a:lnTo>
                  <a:pt x="379476" y="4257733"/>
                </a:lnTo>
                <a:close/>
                <a:moveTo>
                  <a:pt x="1425628" y="0"/>
                </a:moveTo>
                <a:lnTo>
                  <a:pt x="1428751" y="0"/>
                </a:lnTo>
                <a:lnTo>
                  <a:pt x="1428751" y="3498456"/>
                </a:lnTo>
                <a:lnTo>
                  <a:pt x="688359" y="4302435"/>
                </a:lnTo>
                <a:lnTo>
                  <a:pt x="379476" y="3069014"/>
                </a:lnTo>
                <a:lnTo>
                  <a:pt x="0" y="3069014"/>
                </a:lnTo>
                <a:lnTo>
                  <a:pt x="0" y="3069013"/>
                </a:lnTo>
                <a:lnTo>
                  <a:pt x="379476" y="3069013"/>
                </a:lnTo>
                <a:lnTo>
                  <a:pt x="379476" y="1971734"/>
                </a:lnTo>
                <a:lnTo>
                  <a:pt x="379476" y="1971733"/>
                </a:lnTo>
                <a:lnTo>
                  <a:pt x="379475" y="1971733"/>
                </a:lnTo>
                <a:lnTo>
                  <a:pt x="0" y="1716464"/>
                </a:lnTo>
                <a:lnTo>
                  <a:pt x="0" y="1716463"/>
                </a:lnTo>
                <a:lnTo>
                  <a:pt x="0" y="619183"/>
                </a:lnTo>
                <a:lnTo>
                  <a:pt x="0" y="619182"/>
                </a:lnTo>
                <a:lnTo>
                  <a:pt x="1425628" y="0"/>
                </a:lnTo>
                <a:close/>
              </a:path>
            </a:pathLst>
          </a:cu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Freeform: Shape 15">
            <a:extLst>
              <a:ext uri="{FF2B5EF4-FFF2-40B4-BE49-F238E27FC236}">
                <a16:creationId xmlns:a16="http://schemas.microsoft.com/office/drawing/2014/main" id="{2B66F9FB-07CF-4628-826F-B1D69076F399}"/>
              </a:ext>
              <a:ext uri="{C183D7F6-B498-43B3-948B-1728B52AA6E4}">
                <adec:decorative xmlns:adec="http://schemas.microsoft.com/office/drawing/2017/decorative" val="1"/>
              </a:ext>
            </a:extLst>
          </p:cNvPr>
          <p:cNvSpPr/>
          <p:nvPr/>
        </p:nvSpPr>
        <p:spPr bwMode="auto">
          <a:xfrm>
            <a:off x="588260" y="4955847"/>
            <a:ext cx="4619844" cy="255271"/>
          </a:xfrm>
          <a:custGeom>
            <a:avLst/>
            <a:gdLst>
              <a:gd name="connsiteX0" fmla="*/ 0 w 3291840"/>
              <a:gd name="connsiteY0" fmla="*/ 0 h 255270"/>
              <a:gd name="connsiteX1" fmla="*/ 3017520 w 3291840"/>
              <a:gd name="connsiteY1" fmla="*/ 0 h 255270"/>
              <a:gd name="connsiteX2" fmla="*/ 3291840 w 3291840"/>
              <a:gd name="connsiteY2" fmla="*/ 255270 h 255270"/>
              <a:gd name="connsiteX3" fmla="*/ 0 w 3291840"/>
              <a:gd name="connsiteY3" fmla="*/ 255270 h 255270"/>
            </a:gdLst>
            <a:ahLst/>
            <a:cxnLst>
              <a:cxn ang="0">
                <a:pos x="connsiteX0" y="connsiteY0"/>
              </a:cxn>
              <a:cxn ang="0">
                <a:pos x="connsiteX1" y="connsiteY1"/>
              </a:cxn>
              <a:cxn ang="0">
                <a:pos x="connsiteX2" y="connsiteY2"/>
              </a:cxn>
              <a:cxn ang="0">
                <a:pos x="connsiteX3" y="connsiteY3"/>
              </a:cxn>
            </a:cxnLst>
            <a:rect l="l" t="t" r="r" b="b"/>
            <a:pathLst>
              <a:path w="3291840" h="255270">
                <a:moveTo>
                  <a:pt x="0" y="0"/>
                </a:moveTo>
                <a:lnTo>
                  <a:pt x="3017520" y="0"/>
                </a:lnTo>
                <a:lnTo>
                  <a:pt x="3291840" y="255270"/>
                </a:lnTo>
                <a:lnTo>
                  <a:pt x="0" y="255270"/>
                </a:ln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Semibold"/>
              <a:ea typeface="Segoe UI" pitchFamily="34" charset="0"/>
              <a:cs typeface="Segoe UI" pitchFamily="34" charset="0"/>
            </a:endParaRPr>
          </a:p>
        </p:txBody>
      </p:sp>
      <p:sp>
        <p:nvSpPr>
          <p:cNvPr id="15" name="Rectangle 14">
            <a:extLst>
              <a:ext uri="{FF2B5EF4-FFF2-40B4-BE49-F238E27FC236}">
                <a16:creationId xmlns:a16="http://schemas.microsoft.com/office/drawing/2014/main" id="{A2A693C0-DBBD-4AC3-9BFE-35E3ECD2B6E9}"/>
              </a:ext>
              <a:ext uri="{C183D7F6-B498-43B3-948B-1728B52AA6E4}">
                <adec:decorative xmlns:adec="http://schemas.microsoft.com/office/drawing/2017/decorative" val="1"/>
              </a:ext>
            </a:extLst>
          </p:cNvPr>
          <p:cNvSpPr/>
          <p:nvPr/>
        </p:nvSpPr>
        <p:spPr bwMode="auto">
          <a:xfrm>
            <a:off x="-1" y="5188394"/>
            <a:ext cx="5193539" cy="1097280"/>
          </a:xfrm>
          <a:prstGeom prst="rect">
            <a:avLst/>
          </a:prstGeom>
          <a:solidFill>
            <a:schemeClr val="tx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Semibold"/>
              <a:ea typeface="Segoe UI" pitchFamily="34" charset="0"/>
              <a:cs typeface="Segoe UI" pitchFamily="34" charset="0"/>
            </a:endParaRPr>
          </a:p>
        </p:txBody>
      </p:sp>
      <p:sp>
        <p:nvSpPr>
          <p:cNvPr id="62" name="TextBox 61">
            <a:extLst>
              <a:ext uri="{FF2B5EF4-FFF2-40B4-BE49-F238E27FC236}">
                <a16:creationId xmlns:a16="http://schemas.microsoft.com/office/drawing/2014/main" id="{4B2598D2-D392-411F-9F4E-7BABF10FCCE3}"/>
              </a:ext>
            </a:extLst>
          </p:cNvPr>
          <p:cNvSpPr txBox="1"/>
          <p:nvPr/>
        </p:nvSpPr>
        <p:spPr>
          <a:xfrm>
            <a:off x="757845" y="5369996"/>
            <a:ext cx="3291840" cy="738664"/>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Semibold"/>
                <a:ea typeface="+mn-ea"/>
                <a:cs typeface="+mn-cs"/>
              </a:rPr>
              <a:t>Microsoft Accessibility</a:t>
            </a:r>
            <a:br>
              <a:rPr kumimoji="0" lang="en-US" sz="2400" b="0" i="0" u="none" strike="noStrike" kern="1200" cap="none" spc="0" normalizeH="0" baseline="0" noProof="0">
                <a:ln>
                  <a:noFill/>
                </a:ln>
                <a:solidFill>
                  <a:srgbClr val="000000"/>
                </a:solidFill>
                <a:effectLst/>
                <a:uLnTx/>
                <a:uFillTx/>
                <a:latin typeface="Segoe UI Semibold"/>
                <a:ea typeface="+mn-ea"/>
                <a:cs typeface="+mn-cs"/>
              </a:rPr>
            </a:br>
            <a:r>
              <a:rPr kumimoji="0" lang="en-US" sz="2400" b="0" i="0" u="none" strike="noStrike" kern="1200" cap="none" spc="0" normalizeH="0" baseline="0" noProof="0">
                <a:ln>
                  <a:noFill/>
                </a:ln>
                <a:solidFill>
                  <a:srgbClr val="000000"/>
                </a:solidFill>
                <a:effectLst/>
                <a:uLnTx/>
                <a:uFillTx/>
                <a:latin typeface="Segoe UI Semibold"/>
                <a:ea typeface="+mn-ea"/>
                <a:cs typeface="+mn-cs"/>
              </a:rPr>
              <a:t>Leadership Team</a:t>
            </a:r>
          </a:p>
        </p:txBody>
      </p:sp>
      <p:sp>
        <p:nvSpPr>
          <p:cNvPr id="63" name="people_12" title="Icon of three people">
            <a:extLst>
              <a:ext uri="{FF2B5EF4-FFF2-40B4-BE49-F238E27FC236}">
                <a16:creationId xmlns:a16="http://schemas.microsoft.com/office/drawing/2014/main" id="{9F5539F8-723E-48B0-A50B-1A4C03CBF908}"/>
              </a:ext>
            </a:extLst>
          </p:cNvPr>
          <p:cNvSpPr>
            <a:spLocks noChangeAspect="1" noEditPoints="1"/>
          </p:cNvSpPr>
          <p:nvPr/>
        </p:nvSpPr>
        <p:spPr bwMode="auto">
          <a:xfrm>
            <a:off x="4275609" y="5448301"/>
            <a:ext cx="627969" cy="535768"/>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pic>
        <p:nvPicPr>
          <p:cNvPr id="65" name="Picture 64" descr="Screenshot of Microsoft accessibility evolution model">
            <a:extLst>
              <a:ext uri="{FF2B5EF4-FFF2-40B4-BE49-F238E27FC236}">
                <a16:creationId xmlns:a16="http://schemas.microsoft.com/office/drawing/2014/main" id="{CF34CB94-9E35-43E9-9A7E-8FF6C5B3416C}"/>
              </a:ext>
            </a:extLst>
          </p:cNvPr>
          <p:cNvPicPr>
            <a:picLocks noChangeAspect="1"/>
          </p:cNvPicPr>
          <p:nvPr/>
        </p:nvPicPr>
        <p:blipFill rotWithShape="1">
          <a:blip r:embed="rId3"/>
          <a:stretch/>
        </p:blipFill>
        <p:spPr>
          <a:xfrm>
            <a:off x="6188127" y="1949845"/>
            <a:ext cx="5470473" cy="3498456"/>
          </a:xfrm>
          <a:prstGeom prst="rect">
            <a:avLst/>
          </a:prstGeom>
        </p:spPr>
      </p:pic>
      <p:sp>
        <p:nvSpPr>
          <p:cNvPr id="66" name="TextBox 65">
            <a:extLst>
              <a:ext uri="{FF2B5EF4-FFF2-40B4-BE49-F238E27FC236}">
                <a16:creationId xmlns:a16="http://schemas.microsoft.com/office/drawing/2014/main" id="{6CD63470-6DA8-40C2-AE7B-E87B3172D0EE}"/>
              </a:ext>
            </a:extLst>
          </p:cNvPr>
          <p:cNvSpPr txBox="1"/>
          <p:nvPr/>
        </p:nvSpPr>
        <p:spPr>
          <a:xfrm>
            <a:off x="6188126" y="5422858"/>
            <a:ext cx="5470474" cy="738664"/>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50E6FF"/>
                </a:solidFill>
                <a:effectLst/>
                <a:uLnTx/>
                <a:uFillTx/>
                <a:latin typeface="Segoe UI Semibold"/>
                <a:ea typeface="+mn-ea"/>
                <a:cs typeface="+mn-cs"/>
              </a:rPr>
              <a:t>Microsoft Accessibility Evolution Model (AEM)</a:t>
            </a:r>
          </a:p>
        </p:txBody>
      </p:sp>
      <p:sp>
        <p:nvSpPr>
          <p:cNvPr id="67" name="TextBox 66">
            <a:extLst>
              <a:ext uri="{FF2B5EF4-FFF2-40B4-BE49-F238E27FC236}">
                <a16:creationId xmlns:a16="http://schemas.microsoft.com/office/drawing/2014/main" id="{113DE420-A4B4-44D7-BFB5-E4878BEAFFC9}"/>
              </a:ext>
            </a:extLst>
          </p:cNvPr>
          <p:cNvSpPr txBox="1"/>
          <p:nvPr/>
        </p:nvSpPr>
        <p:spPr>
          <a:xfrm>
            <a:off x="586740" y="6429957"/>
            <a:ext cx="6495304" cy="184666"/>
          </a:xfrm>
          <a:prstGeom prst="rect">
            <a:avLst/>
          </a:prstGeom>
          <a:noFill/>
        </p:spPr>
        <p:txBody>
          <a:bodyPr wrap="none" lIns="0" tIns="0" rIns="0" bIns="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a:hlinkClick r:id="rId4"/>
              </a:rPr>
              <a:t>The Carnegie Mellon Capability Model</a:t>
            </a:r>
            <a:r>
              <a:rPr kumimoji="0" lang="en-US" sz="1200" b="0" i="0" u="none" strike="noStrike" kern="1200" cap="none" spc="0" normalizeH="0" baseline="0" noProof="0">
                <a:ln>
                  <a:noFill/>
                </a:ln>
                <a:solidFill>
                  <a:srgbClr val="FFFFFF"/>
                </a:solidFill>
                <a:effectLst/>
                <a:uLnTx/>
                <a:uFillTx/>
                <a:latin typeface="Segoe UI"/>
                <a:ea typeface="+mn-ea"/>
                <a:cs typeface="Segoe UI"/>
              </a:rPr>
              <a:t> and the </a:t>
            </a:r>
            <a:r>
              <a:rPr kumimoji="0" lang="en-US" sz="1200" b="0" i="0" u="none" strike="noStrike" kern="1200" cap="none" spc="0" normalizeH="0" baseline="0" noProof="0">
                <a:ln>
                  <a:noFill/>
                </a:ln>
                <a:solidFill>
                  <a:srgbClr val="FFFFFF"/>
                </a:solidFill>
                <a:effectLst/>
                <a:uLnTx/>
                <a:uFillTx/>
                <a:latin typeface="Segoe UI"/>
                <a:ea typeface="+mn-ea"/>
                <a:cs typeface="Segoe UI"/>
                <a:hlinkClick r:id="rId5"/>
              </a:rPr>
              <a:t>Level Access Digital Accessibility Maturity Model </a:t>
            </a:r>
            <a:endParaRPr kumimoji="0" lang="en-US" sz="1200" b="0" i="0" u="none" strike="noStrike" kern="1200" cap="none" spc="0" normalizeH="0" baseline="0" noProof="0">
              <a:ln>
                <a:noFill/>
              </a:ln>
              <a:solidFill>
                <a:srgbClr val="FFFFFF"/>
              </a:solidFill>
              <a:effectLst/>
              <a:uLnTx/>
              <a:uFillTx/>
              <a:latin typeface="Segoe UI"/>
              <a:ea typeface="+mn-ea"/>
              <a:cs typeface="Segoe UI"/>
            </a:endParaRPr>
          </a:p>
        </p:txBody>
      </p:sp>
      <p:sp>
        <p:nvSpPr>
          <p:cNvPr id="2" name="Rectangle: Single Corner Rounded 1">
            <a:extLst>
              <a:ext uri="{FF2B5EF4-FFF2-40B4-BE49-F238E27FC236}">
                <a16:creationId xmlns:a16="http://schemas.microsoft.com/office/drawing/2014/main" id="{A0D4D115-A50F-46C7-BA09-F11272D1FD8E}"/>
              </a:ext>
              <a:ext uri="{C183D7F6-B498-43B3-948B-1728B52AA6E4}">
                <adec:decorative xmlns:adec="http://schemas.microsoft.com/office/drawing/2017/decorative" val="1"/>
              </a:ext>
            </a:extLst>
          </p:cNvPr>
          <p:cNvSpPr/>
          <p:nvPr/>
        </p:nvSpPr>
        <p:spPr bwMode="auto">
          <a:xfrm rot="10800000">
            <a:off x="8596923" y="1779"/>
            <a:ext cx="3595077" cy="825990"/>
          </a:xfrm>
          <a:prstGeom prst="round1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1600" dirty="0">
              <a:solidFill>
                <a:schemeClr val="tx1"/>
              </a:solidFill>
              <a:ea typeface="Segoe UI" pitchFamily="34" charset="0"/>
              <a:cs typeface="Segoe UI" pitchFamily="34" charset="0"/>
            </a:endParaRPr>
          </a:p>
        </p:txBody>
      </p:sp>
      <p:sp>
        <p:nvSpPr>
          <p:cNvPr id="19" name="TextBox 18">
            <a:extLst>
              <a:ext uri="{FF2B5EF4-FFF2-40B4-BE49-F238E27FC236}">
                <a16:creationId xmlns:a16="http://schemas.microsoft.com/office/drawing/2014/main" id="{6EB4FC8F-C63B-4FEA-9C78-DFB43EE894EA}"/>
              </a:ext>
            </a:extLst>
          </p:cNvPr>
          <p:cNvSpPr txBox="1"/>
          <p:nvPr/>
        </p:nvSpPr>
        <p:spPr>
          <a:xfrm>
            <a:off x="8738279" y="87868"/>
            <a:ext cx="3453721" cy="646331"/>
          </a:xfrm>
          <a:prstGeom prst="rect">
            <a:avLst/>
          </a:prstGeom>
          <a:noFill/>
        </p:spPr>
        <p:txBody>
          <a:bodyPr wrap="square">
            <a:spAutoFit/>
          </a:bodyPr>
          <a:lstStyle/>
          <a:p>
            <a:pPr algn="l" defTabSz="932472" fontAlgn="base">
              <a:spcBef>
                <a:spcPct val="0"/>
              </a:spcBef>
              <a:spcAft>
                <a:spcPct val="0"/>
              </a:spcAft>
            </a:pPr>
            <a:r>
              <a:rPr lang="en-US" sz="2000" b="1" dirty="0">
                <a:solidFill>
                  <a:schemeClr val="tx1"/>
                </a:solidFill>
                <a:ea typeface="Segoe UI" pitchFamily="34" charset="0"/>
                <a:cs typeface="Segoe UI" pitchFamily="34" charset="0"/>
              </a:rPr>
              <a:t>Learn More: </a:t>
            </a:r>
            <a:r>
              <a:rPr lang="en-US" sz="1600" dirty="0">
                <a:solidFill>
                  <a:schemeClr val="tx1"/>
                </a:solidFill>
                <a:ea typeface="Segoe UI" pitchFamily="34" charset="0"/>
                <a:cs typeface="Segoe UI" pitchFamily="34" charset="0"/>
              </a:rPr>
              <a:t>aka.ms/</a:t>
            </a:r>
            <a:r>
              <a:rPr lang="en-US" sz="1600" dirty="0" err="1">
                <a:solidFill>
                  <a:schemeClr val="tx1"/>
                </a:solidFill>
                <a:ea typeface="Segoe UI" pitchFamily="34" charset="0"/>
                <a:cs typeface="Segoe UI" pitchFamily="34" charset="0"/>
              </a:rPr>
              <a:t>AccessibilityMaturityModel</a:t>
            </a:r>
            <a:endParaRPr lang="en-US" sz="160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365147464"/>
      </p:ext>
    </p:extLst>
  </p:cSld>
  <p:clrMapOvr>
    <a:masterClrMapping/>
  </p:clrMapOvr>
  <p:transition>
    <p:fade/>
  </p:transition>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B050EC-A584-453E-8396-7FFCF79268AC}"/>
              </a:ext>
            </a:extLst>
          </p:cNvPr>
          <p:cNvSpPr>
            <a:spLocks noGrp="1"/>
          </p:cNvSpPr>
          <p:nvPr>
            <p:ph type="title"/>
          </p:nvPr>
        </p:nvSpPr>
        <p:spPr/>
        <p:txBody>
          <a:bodyPr/>
          <a:lstStyle/>
          <a:p>
            <a:r>
              <a:rPr lang="en-US" dirty="0"/>
              <a:t>Changing hearts and minds</a:t>
            </a:r>
          </a:p>
        </p:txBody>
      </p:sp>
    </p:spTree>
    <p:extLst>
      <p:ext uri="{BB962C8B-B14F-4D97-AF65-F5344CB8AC3E}">
        <p14:creationId xmlns:p14="http://schemas.microsoft.com/office/powerpoint/2010/main" val="389286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6cupn_hsN69ZnTbEkCU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2020 Accessibility Events Speaker Template_FINAL" id="{9B428564-D56D-43A1-B8C4-B15319A35361}" vid="{DDEE547C-1EF9-41BD-9B3D-838DAACFCAED}"/>
    </a:ext>
  </a:extLst>
</a:theme>
</file>

<file path=ppt/theme/theme10.xml><?xml version="1.0" encoding="utf-8"?>
<a:theme xmlns:a="http://schemas.openxmlformats.org/drawingml/2006/main" name="Theme2">
  <a:themeElements>
    <a:clrScheme name="Kate">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2" id="{E17A657B-D392-4066-96FB-FC601B224DEC}" vid="{94FB5D67-4AD1-410B-B7B4-CD1E337FE18D}"/>
    </a:ext>
  </a:extLst>
</a:theme>
</file>

<file path=ppt/theme/theme11.xml><?xml version="1.0" encoding="utf-8"?>
<a:theme xmlns:a="http://schemas.openxmlformats.org/drawingml/2006/main" name="3_White Template">
  <a:themeElements>
    <a:clrScheme name="Kate">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a:spAutoFit/>
      </a:bodyPr>
      <a:lstStyle>
        <a:defPPr marL="0" indent="0" algn="l">
          <a:buFont typeface="Wingdings" panose="05000000000000000000" pitchFamily="2" charset="2"/>
          <a:buNone/>
          <a:defRPr sz="1600" dirty="0">
            <a:ea typeface="Calibri" panose="020F0502020204030204" pitchFamily="34" charset="0"/>
            <a:cs typeface="Times New Roman" panose="02020603050405020304" pitchFamily="18" charset="0"/>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12.xml><?xml version="1.0" encoding="utf-8"?>
<a:theme xmlns:a="http://schemas.openxmlformats.org/drawingml/2006/main" name="1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2020 Accessibility Events Speaker Template_FINAL" id="{9B428564-D56D-43A1-B8C4-B15319A35361}" vid="{DDEE547C-1EF9-41BD-9B3D-838DAACFCAED}"/>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hite Template">
  <a:themeElements>
    <a:clrScheme name="Kate">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01.potx" id="{71083E08-DC26-4C69-B95F-E6DE531BB553}" vid="{0995B531-B0EF-4F51-BB6D-A0E83584022B}"/>
    </a:ext>
  </a:extLst>
</a:theme>
</file>

<file path=ppt/theme/theme3.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White_2_Mar_2018.potx" id="{5EA85B4E-C6AB-48DB-833F-FFA58DA8AC41}" vid="{A1FBA7DC-665B-4395-A514-4C4F6E9DE7F9}"/>
    </a:ext>
  </a:extLst>
</a:theme>
</file>

<file path=ppt/theme/theme4.xml><?xml version="1.0" encoding="utf-8"?>
<a:theme xmlns:a="http://schemas.openxmlformats.org/drawingml/2006/main" name="X-XXXXX_Microsoft_Envision_Template">
  <a:themeElements>
    <a:clrScheme name="Custom 3">
      <a:dk1>
        <a:srgbClr val="1A1A1A"/>
      </a:dk1>
      <a:lt1>
        <a:srgbClr val="FFFFFF"/>
      </a:lt1>
      <a:dk2>
        <a:srgbClr val="0D0D0D"/>
      </a:dk2>
      <a:lt2>
        <a:srgbClr val="E6E6E6"/>
      </a:lt2>
      <a:accent1>
        <a:srgbClr val="00188F"/>
      </a:accent1>
      <a:accent2>
        <a:srgbClr val="0078D4"/>
      </a:accent2>
      <a:accent3>
        <a:srgbClr val="00BCF2"/>
      </a:accent3>
      <a:accent4>
        <a:srgbClr val="BAD80A"/>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8_16x9_Breakout_Template.potx" id="{E1A98662-21E9-4A2C-AFB6-CA221CC08CDF}" vid="{7F577CCE-E587-4AFD-97F1-354D9AAEDCD5}"/>
    </a:ext>
  </a:extLst>
</a:theme>
</file>

<file path=ppt/theme/theme5.xml><?xml version="1.0" encoding="utf-8"?>
<a:theme xmlns:a="http://schemas.openxmlformats.org/drawingml/2006/main" name="White Templat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3" id="{94C52B42-A0DD-8843-AEAB-20E90A3A21BA}" vid="{8AA2F2AB-68B9-D94E-A224-517880B0FE66}"/>
    </a:ext>
  </a:extLst>
</a:theme>
</file>

<file path=ppt/theme/theme6.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 Enterprise Presentation Template_16x9" id="{8FD6EAFF-A94B-422E-8078-AE8DD77774C0}" vid="{4E18F3A7-FC61-408E-972E-50BC453F7930}"/>
    </a:ext>
  </a:extLst>
</a:theme>
</file>

<file path=ppt/theme/theme7.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Business_2019_18.potx" id="{724AF5A5-E2F9-4637-AA52-CF3C494E3E17}" vid="{80DD2ED2-4D50-46D7-9953-BFE52DABBA29}"/>
    </a:ext>
  </a:extLst>
</a:theme>
</file>

<file path=ppt/theme/theme8.xml><?xml version="1.0" encoding="utf-8"?>
<a:theme xmlns:a="http://schemas.openxmlformats.org/drawingml/2006/main" name="4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9.xml><?xml version="1.0" encoding="utf-8"?>
<a:theme xmlns:a="http://schemas.openxmlformats.org/drawingml/2006/main" name="2_White Template">
  <a:themeElements>
    <a:clrScheme name="FY22 blu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_rev.potx" id="{82C8631A-BB3B-4037-8CA2-6C69A7D31780}" vid="{CF280CBE-5726-4D95-80F2-22BE9FAC433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ED053E0B7BD034BBD3734B26FE501FB" ma:contentTypeVersion="16" ma:contentTypeDescription="Create a new document." ma:contentTypeScope="" ma:versionID="d18ee9e99354ae1e4c7ccfb9e5fb3aed">
  <xsd:schema xmlns:xsd="http://www.w3.org/2001/XMLSchema" xmlns:xs="http://www.w3.org/2001/XMLSchema" xmlns:p="http://schemas.microsoft.com/office/2006/metadata/properties" xmlns:ns2="6c3b8586-d3a4-4d3d-a534-30f221f2adf7" xmlns:ns3="ea0263c6-65e7-4f52-bc5c-8269b08d611d" xmlns:ns4="230e9df3-be65-4c73-a93b-d1236ebd677e" targetNamespace="http://schemas.microsoft.com/office/2006/metadata/properties" ma:root="true" ma:fieldsID="68f642eb5da4ca5d0fa974bdbf72b08a" ns2:_="" ns3:_="" ns4:_="">
    <xsd:import namespace="6c3b8586-d3a4-4d3d-a534-30f221f2adf7"/>
    <xsd:import namespace="ea0263c6-65e7-4f52-bc5c-8269b08d611d"/>
    <xsd:import namespace="230e9df3-be65-4c73-a93b-d1236ebd677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Audience" minOccurs="0"/>
                <xsd:element ref="ns3:MediaServiceMetadata" minOccurs="0"/>
                <xsd:element ref="ns3:MediaServiceFastMetadata" minOccurs="0"/>
                <xsd:element ref="ns3:MediaServiceAutoKeyPoints" minOccurs="0"/>
                <xsd:element ref="ns3:MediaServiceKeyPoints" minOccurs="0"/>
                <xsd:element ref="ns3:MediaServiceOCR" minOccurs="0"/>
                <xsd:element ref="ns3:MediaServiceGenerationTime" minOccurs="0"/>
                <xsd:element ref="ns3:MediaServiceEventHashCode"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3b8586-d3a4-4d3d-a534-30f221f2adf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a0263c6-65e7-4f52-bc5c-8269b08d611d" elementFormDefault="qualified">
    <xsd:import namespace="http://schemas.microsoft.com/office/2006/documentManagement/types"/>
    <xsd:import namespace="http://schemas.microsoft.com/office/infopath/2007/PartnerControls"/>
    <xsd:element name="Audience" ma:index="12" nillable="true" ma:displayName="Audience" ma:default="Internal" ma:format="Dropdown" ma:internalName="Audience">
      <xsd:simpleType>
        <xsd:restriction base="dms:Choice">
          <xsd:enumeration value="Internal"/>
          <xsd:enumeration value="External"/>
          <xsd:enumeration value="Internal/External"/>
        </xsd:restriction>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1ed06f99-ff3b-44e5-b915-66847ce2a0ff}" ma:internalName="TaxCatchAll" ma:showField="CatchAllData" ma:web="6c3b8586-d3a4-4d3d-a534-30f221f2ad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c3b8586-d3a4-4d3d-a534-30f221f2adf7">
      <UserInfo>
        <DisplayName>Jenny Lay-Flurrie (CELA)</DisplayName>
        <AccountId>27</AccountId>
        <AccountType/>
      </UserInfo>
      <UserInfo>
        <DisplayName>Margaret Loosemore</DisplayName>
        <AccountId>29247</AccountId>
        <AccountType/>
      </UserInfo>
      <UserInfo>
        <DisplayName>Joni Davis (KDDS Group LLC)</DisplayName>
        <AccountId>41489</AccountId>
        <AccountType/>
      </UserInfo>
      <UserInfo>
        <DisplayName>William Thayer (CELA)</DisplayName>
        <AccountId>20</AccountId>
        <AccountType/>
      </UserInfo>
      <UserInfo>
        <DisplayName>Neil Barnett (CELA)</DisplayName>
        <AccountId>28</AccountId>
        <AccountType/>
      </UserInfo>
      <UserInfo>
        <DisplayName>Crystal Jones (CELA)</DisplayName>
        <AccountId>30</AccountId>
        <AccountType/>
      </UserInfo>
      <UserInfo>
        <DisplayName>Bodil Rosenhagen (Meeting Solutions Inc)</DisplayName>
        <AccountId>39886</AccountId>
        <AccountType/>
      </UserInfo>
      <UserInfo>
        <DisplayName>Crystal Whitehead (CELA)</DisplayName>
        <AccountId>33753</AccountId>
        <AccountType/>
      </UserInfo>
      <UserInfo>
        <DisplayName>Daniel Banks</DisplayName>
        <AccountId>58090</AccountId>
        <AccountType/>
      </UserInfo>
      <UserInfo>
        <DisplayName>Manish Agrawal</DisplayName>
        <AccountId>17917</AccountId>
        <AccountType/>
      </UserInfo>
      <UserInfo>
        <DisplayName>Samantha Renke (Insight Global, Inc)</DisplayName>
        <AccountId>27902</AccountId>
        <AccountType/>
      </UserInfo>
      <UserInfo>
        <DisplayName>Brittany Wong (CELA)</DisplayName>
        <AccountId>24667</AccountId>
        <AccountType/>
      </UserInfo>
      <UserInfo>
        <DisplayName>Dawn Lee</DisplayName>
        <AccountId>8290</AccountId>
        <AccountType/>
      </UserInfo>
    </SharedWithUsers>
    <Audience xmlns="ea0263c6-65e7-4f52-bc5c-8269b08d611d">Internal</Audience>
    <lcf76f155ced4ddcb4097134ff3c332f xmlns="ea0263c6-65e7-4f52-bc5c-8269b08d611d">
      <Terms xmlns="http://schemas.microsoft.com/office/infopath/2007/PartnerControls"/>
    </lcf76f155ced4ddcb4097134ff3c332f>
    <TaxCatchAll xmlns="230e9df3-be65-4c73-a93b-d1236ebd677e"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85BE575E-47D3-4851-9AE5-4FAE327A959C}">
  <ds:schemaRefs>
    <ds:schemaRef ds:uri="230e9df3-be65-4c73-a93b-d1236ebd677e"/>
    <ds:schemaRef ds:uri="6c3b8586-d3a4-4d3d-a534-30f221f2adf7"/>
    <ds:schemaRef ds:uri="ea0263c6-65e7-4f52-bc5c-8269b08d611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990F116-B58F-4255-B05B-DA3808E0E5C6}">
  <ds:schemaRefs>
    <ds:schemaRef ds:uri="http://purl.org/dc/dcmitype/"/>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purl.org/dc/terms/"/>
    <ds:schemaRef ds:uri="http://schemas.openxmlformats.org/package/2006/metadata/core-properties"/>
    <ds:schemaRef ds:uri="230e9df3-be65-4c73-a93b-d1236ebd677e"/>
    <ds:schemaRef ds:uri="ea0263c6-65e7-4f52-bc5c-8269b08d611d"/>
    <ds:schemaRef ds:uri="6c3b8586-d3a4-4d3d-a534-30f221f2adf7"/>
    <ds:schemaRef ds:uri="http://www.w3.org/XML/1998/namespace"/>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276</TotalTime>
  <Words>790</Words>
  <Application>Microsoft Macintosh PowerPoint</Application>
  <PresentationFormat>Widescreen</PresentationFormat>
  <Paragraphs>159</Paragraphs>
  <Slides>21</Slides>
  <Notes>18</Notes>
  <HiddenSlides>0</HiddenSlides>
  <MMClips>0</MMClips>
  <ScaleCrop>false</ScaleCrop>
  <HeadingPairs>
    <vt:vector size="8" baseType="variant">
      <vt:variant>
        <vt:lpstr>Fonts Used</vt:lpstr>
      </vt:variant>
      <vt:variant>
        <vt:i4>8</vt:i4>
      </vt:variant>
      <vt:variant>
        <vt:lpstr>Theme</vt:lpstr>
      </vt:variant>
      <vt:variant>
        <vt:i4>12</vt:i4>
      </vt:variant>
      <vt:variant>
        <vt:lpstr>Embedded OLE Servers</vt:lpstr>
      </vt:variant>
      <vt:variant>
        <vt:i4>1</vt:i4>
      </vt:variant>
      <vt:variant>
        <vt:lpstr>Slide Titles</vt:lpstr>
      </vt:variant>
      <vt:variant>
        <vt:i4>21</vt:i4>
      </vt:variant>
    </vt:vector>
  </HeadingPairs>
  <TitlesOfParts>
    <vt:vector size="42" baseType="lpstr">
      <vt:lpstr>Arial</vt:lpstr>
      <vt:lpstr>Calibri</vt:lpstr>
      <vt:lpstr>Consolas</vt:lpstr>
      <vt:lpstr>Segoe UI</vt:lpstr>
      <vt:lpstr>Segoe UI Light</vt:lpstr>
      <vt:lpstr>Segoe UI Semibold</vt:lpstr>
      <vt:lpstr>Segoe UI Semilight</vt:lpstr>
      <vt:lpstr>Wingdings</vt:lpstr>
      <vt:lpstr>Black Template</vt:lpstr>
      <vt:lpstr>White Template</vt:lpstr>
      <vt:lpstr>1_WHITE TEMPLATE</vt:lpstr>
      <vt:lpstr>X-XXXXX_Microsoft_Envision_Template</vt:lpstr>
      <vt:lpstr>White Template</vt:lpstr>
      <vt:lpstr>1_FY18 Enterprise</vt:lpstr>
      <vt:lpstr>1_White Template</vt:lpstr>
      <vt:lpstr>4_White Template</vt:lpstr>
      <vt:lpstr>2_White Template</vt:lpstr>
      <vt:lpstr>Theme2</vt:lpstr>
      <vt:lpstr>3_White Template</vt:lpstr>
      <vt:lpstr>1_Black Template</vt:lpstr>
      <vt:lpstr>think-cell Slide</vt:lpstr>
      <vt:lpstr>Evolution of the Accessibility Ecosystem</vt:lpstr>
      <vt:lpstr>Our History…</vt:lpstr>
      <vt:lpstr>Our journey at Microsoft</vt:lpstr>
      <vt:lpstr>Accessibility is a responsibility </vt:lpstr>
      <vt:lpstr>Bridging the Disability Divide</vt:lpstr>
      <vt:lpstr>How do we do it?</vt:lpstr>
      <vt:lpstr>Org Structure</vt:lpstr>
      <vt:lpstr>Manage accessibility like a business </vt:lpstr>
      <vt:lpstr>Changing hearts and minds</vt:lpstr>
      <vt:lpstr>Inclusive Hiring</vt:lpstr>
      <vt:lpstr>Innovation</vt:lpstr>
      <vt:lpstr>Training: Accessibility in Action Badge</vt:lpstr>
      <vt:lpstr>Lessons Learned</vt:lpstr>
      <vt:lpstr>Avoid the ROI trap  </vt:lpstr>
      <vt:lpstr>Marathon… not a sprint </vt:lpstr>
      <vt:lpstr>Advocacy fatigue is real</vt:lpstr>
      <vt:lpstr>Celebrate then accelerate</vt:lpstr>
      <vt:lpstr>Better together</vt:lpstr>
      <vt:lpstr>Imposter Syndrome</vt:lpstr>
      <vt:lpstr>Questions?  Contact us at any time!</vt:lpstr>
      <vt:lpstr>End C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cessibility at Microsoft</dc:title>
  <dc:creator>William Thayer</dc:creator>
  <cp:lastModifiedBy>Laura Goslin</cp:lastModifiedBy>
  <cp:revision>10</cp:revision>
  <cp:lastPrinted>2021-11-09T16:27:07Z</cp:lastPrinted>
  <dcterms:created xsi:type="dcterms:W3CDTF">2020-10-01T15:20:34Z</dcterms:created>
  <dcterms:modified xsi:type="dcterms:W3CDTF">2022-03-15T15:4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D053E0B7BD034BBD3734B26FE501FB</vt:lpwstr>
  </property>
  <property fmtid="{D5CDD505-2E9C-101B-9397-08002B2CF9AE}" pid="3" name="MediaServiceImageTags">
    <vt:lpwstr/>
  </property>
</Properties>
</file>